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4.xml" ContentType="application/vnd.openxmlformats-officedocument.presentationml.notesSlide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ppt/tags/tag11.xml" ContentType="application/vnd.openxmlformats-officedocument.presentationml.tags+xml"/>
  <Override PartName="/ppt/notesSlides/notesSlide6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29"/>
  </p:notesMasterIdLst>
  <p:handoutMasterIdLst>
    <p:handoutMasterId r:id="rId30"/>
  </p:handoutMasterIdLst>
  <p:sldIdLst>
    <p:sldId id="256" r:id="rId5"/>
    <p:sldId id="304" r:id="rId6"/>
    <p:sldId id="339" r:id="rId7"/>
    <p:sldId id="322" r:id="rId8"/>
    <p:sldId id="316" r:id="rId9"/>
    <p:sldId id="328" r:id="rId10"/>
    <p:sldId id="341" r:id="rId11"/>
    <p:sldId id="334" r:id="rId12"/>
    <p:sldId id="326" r:id="rId13"/>
    <p:sldId id="331" r:id="rId14"/>
    <p:sldId id="314" r:id="rId15"/>
    <p:sldId id="335" r:id="rId16"/>
    <p:sldId id="330" r:id="rId17"/>
    <p:sldId id="305" r:id="rId18"/>
    <p:sldId id="309" r:id="rId19"/>
    <p:sldId id="310" r:id="rId20"/>
    <p:sldId id="311" r:id="rId21"/>
    <p:sldId id="319" r:id="rId22"/>
    <p:sldId id="340" r:id="rId23"/>
    <p:sldId id="337" r:id="rId24"/>
    <p:sldId id="344" r:id="rId25"/>
    <p:sldId id="342" r:id="rId26"/>
    <p:sldId id="343" r:id="rId27"/>
    <p:sldId id="345" r:id="rId28"/>
  </p:sldIdLst>
  <p:sldSz cx="12192000" cy="6858000"/>
  <p:notesSz cx="6858000" cy="9144000"/>
  <p:defaultTextStyle>
    <a:defPPr rtl="0"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1027C"/>
    <a:srgbClr val="5B0F71"/>
    <a:srgbClr val="2E1E6E"/>
    <a:srgbClr val="02DCF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6444DE7-8F49-DCC7-1708-DB7B690A311F}" v="1178" dt="2025-04-24T09:40:02.899"/>
    <p1510:client id="{326102E4-6B45-6ECE-B6DC-A53DF9E47DAF}" v="13" dt="2025-04-24T09:17:17.691"/>
    <p1510:client id="{5E526AD5-9057-0489-A341-813E46FCF6D6}" v="452" dt="2025-04-23T18:44:10.123"/>
    <p1510:client id="{64FD9C7A-CF0F-7056-4757-476A534F645B}" v="913" dt="2025-04-24T08:25:12.683"/>
    <p1510:client id="{848A9A37-B677-7868-1AD9-FF76479E0136}" v="638" dt="2025-04-23T13:52:44.373"/>
    <p1510:client id="{9A21812C-E53D-4018-A66F-CEBBCC2D158E}" v="12798" dt="2025-04-24T09:49:16.898"/>
  </p1510:revLst>
</p1510:revInfo>
</file>

<file path=ppt/tableStyles.xml><?xml version="1.0" encoding="utf-8"?>
<a:tblStyleLst xmlns:a="http://schemas.openxmlformats.org/drawingml/2006/main" def="{5C22544A-7EE6-4342-B048-85BDC9FD1C3A}"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86" d="100"/>
          <a:sy n="86" d="100"/>
        </p:scale>
        <p:origin x="533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34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viewProps" Target="viewProps.xml"/><Relationship Id="rId37" Type="http://schemas.microsoft.com/office/2018/10/relationships/authors" Target="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microsoft.com/office/2015/10/relationships/revisionInfo" Target="revisionInfo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handoutMaster" Target="handoutMasters/handoutMaster1.xml"/><Relationship Id="rId35" Type="http://schemas.microsoft.com/office/2016/11/relationships/changesInfo" Target="changesInfos/changesInfo1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Gastbenutzer" providerId="Windows Live" clId="Web-{64FD9C7A-CF0F-7056-4757-476A534F645B}"/>
    <pc:docChg chg="addSld delSld modSld sldOrd modSection">
      <pc:chgData name="Gastbenutzer" userId="" providerId="Windows Live" clId="Web-{64FD9C7A-CF0F-7056-4757-476A534F645B}" dt="2025-04-24T08:25:12.683" v="682" actId="1076"/>
      <pc:docMkLst>
        <pc:docMk/>
      </pc:docMkLst>
      <pc:sldChg chg="modSp">
        <pc:chgData name="Gastbenutzer" userId="" providerId="Windows Live" clId="Web-{64FD9C7A-CF0F-7056-4757-476A534F645B}" dt="2025-04-24T08:05:15.374" v="677" actId="20577"/>
        <pc:sldMkLst>
          <pc:docMk/>
          <pc:sldMk cId="1319198600" sldId="286"/>
        </pc:sldMkLst>
        <pc:spChg chg="mod">
          <ac:chgData name="Gastbenutzer" userId="" providerId="Windows Live" clId="Web-{64FD9C7A-CF0F-7056-4757-476A534F645B}" dt="2025-04-24T08:05:15.374" v="677" actId="20577"/>
          <ac:spMkLst>
            <pc:docMk/>
            <pc:sldMk cId="1319198600" sldId="286"/>
            <ac:spMk id="9" creationId="{8FF2AD7E-F0A2-ECFB-D2F3-81261DA61946}"/>
          </ac:spMkLst>
        </pc:spChg>
      </pc:sldChg>
      <pc:sldChg chg="mod modShow">
        <pc:chgData name="Gastbenutzer" userId="" providerId="Windows Live" clId="Web-{64FD9C7A-CF0F-7056-4757-476A534F645B}" dt="2025-04-23T20:10:22.004" v="23"/>
        <pc:sldMkLst>
          <pc:docMk/>
          <pc:sldMk cId="3062739092" sldId="297"/>
        </pc:sldMkLst>
      </pc:sldChg>
      <pc:sldChg chg="mod modShow">
        <pc:chgData name="Gastbenutzer" userId="" providerId="Windows Live" clId="Web-{64FD9C7A-CF0F-7056-4757-476A534F645B}" dt="2025-04-23T20:10:32.426" v="24"/>
        <pc:sldMkLst>
          <pc:docMk/>
          <pc:sldMk cId="1997800387" sldId="299"/>
        </pc:sldMkLst>
      </pc:sldChg>
      <pc:sldChg chg="addSp delSp modSp del">
        <pc:chgData name="Gastbenutzer" userId="" providerId="Windows Live" clId="Web-{64FD9C7A-CF0F-7056-4757-476A534F645B}" dt="2025-04-24T08:04:32.248" v="674"/>
        <pc:sldMkLst>
          <pc:docMk/>
          <pc:sldMk cId="4096166175" sldId="300"/>
        </pc:sldMkLst>
        <pc:spChg chg="del">
          <ac:chgData name="Gastbenutzer" userId="" providerId="Windows Live" clId="Web-{64FD9C7A-CF0F-7056-4757-476A534F645B}" dt="2025-04-24T07:43:47.271" v="655"/>
          <ac:spMkLst>
            <pc:docMk/>
            <pc:sldMk cId="4096166175" sldId="300"/>
            <ac:spMk id="5" creationId="{6E97F427-0B44-6D83-74B2-20174A5A8AA0}"/>
          </ac:spMkLst>
        </pc:spChg>
        <pc:spChg chg="del">
          <ac:chgData name="Gastbenutzer" userId="" providerId="Windows Live" clId="Web-{64FD9C7A-CF0F-7056-4757-476A534F645B}" dt="2025-04-24T07:43:47.021" v="654"/>
          <ac:spMkLst>
            <pc:docMk/>
            <pc:sldMk cId="4096166175" sldId="300"/>
            <ac:spMk id="6" creationId="{2B3F3112-7026-CE17-D87B-8AAE92BB08F6}"/>
          </ac:spMkLst>
        </pc:spChg>
        <pc:spChg chg="add del mod">
          <ac:chgData name="Gastbenutzer" userId="" providerId="Windows Live" clId="Web-{64FD9C7A-CF0F-7056-4757-476A534F645B}" dt="2025-04-24T07:43:56.303" v="657"/>
          <ac:spMkLst>
            <pc:docMk/>
            <pc:sldMk cId="4096166175" sldId="300"/>
            <ac:spMk id="11" creationId="{B987F1B6-71F9-9907-34ED-E4C77A13C01F}"/>
          </ac:spMkLst>
        </pc:spChg>
        <pc:spChg chg="add del mod">
          <ac:chgData name="Gastbenutzer" userId="" providerId="Windows Live" clId="Web-{64FD9C7A-CF0F-7056-4757-476A534F645B}" dt="2025-04-24T07:43:52.943" v="656"/>
          <ac:spMkLst>
            <pc:docMk/>
            <pc:sldMk cId="4096166175" sldId="300"/>
            <ac:spMk id="22" creationId="{A4D1AA92-F972-C03B-ADC1-C9F50D7C9464}"/>
          </ac:spMkLst>
        </pc:spChg>
        <pc:spChg chg="mod">
          <ac:chgData name="Gastbenutzer" userId="" providerId="Windows Live" clId="Web-{64FD9C7A-CF0F-7056-4757-476A534F645B}" dt="2025-04-24T07:45:31.493" v="664" actId="20577"/>
          <ac:spMkLst>
            <pc:docMk/>
            <pc:sldMk cId="4096166175" sldId="300"/>
            <ac:spMk id="25" creationId="{0675717D-08A4-25D9-06F3-B613CA9D2BB4}"/>
          </ac:spMkLst>
        </pc:spChg>
        <pc:picChg chg="mod">
          <ac:chgData name="Gastbenutzer" userId="" providerId="Windows Live" clId="Web-{64FD9C7A-CF0F-7056-4757-476A534F645B}" dt="2025-04-24T07:44:15.522" v="658" actId="1076"/>
          <ac:picMkLst>
            <pc:docMk/>
            <pc:sldMk cId="4096166175" sldId="300"/>
            <ac:picMk id="14" creationId="{BC5E429F-B420-8D4A-00B9-9A054D39D2DF}"/>
          </ac:picMkLst>
        </pc:picChg>
        <pc:picChg chg="add del mod">
          <ac:chgData name="Gastbenutzer" userId="" providerId="Windows Live" clId="Web-{64FD9C7A-CF0F-7056-4757-476A534F645B}" dt="2025-04-24T08:00:49.507" v="666"/>
          <ac:picMkLst>
            <pc:docMk/>
            <pc:sldMk cId="4096166175" sldId="300"/>
            <ac:picMk id="24" creationId="{C0E89C6A-4747-5214-77D0-639C65EC497D}"/>
          </ac:picMkLst>
        </pc:picChg>
        <pc:picChg chg="add del mod">
          <ac:chgData name="Gastbenutzer" userId="" providerId="Windows Live" clId="Web-{64FD9C7A-CF0F-7056-4757-476A534F645B}" dt="2025-04-24T08:03:14.996" v="671"/>
          <ac:picMkLst>
            <pc:docMk/>
            <pc:sldMk cId="4096166175" sldId="300"/>
            <ac:picMk id="27" creationId="{D2A9AFA2-3B0C-7185-ABD2-26D29C03DBC8}"/>
          </ac:picMkLst>
        </pc:picChg>
        <pc:cxnChg chg="del">
          <ac:chgData name="Gastbenutzer" userId="" providerId="Windows Live" clId="Web-{64FD9C7A-CF0F-7056-4757-476A534F645B}" dt="2025-04-24T07:43:46.740" v="653"/>
          <ac:cxnSpMkLst>
            <pc:docMk/>
            <pc:sldMk cId="4096166175" sldId="300"/>
            <ac:cxnSpMk id="17" creationId="{71BA7137-5B31-2630-5F28-574CDD9BB169}"/>
          </ac:cxnSpMkLst>
        </pc:cxnChg>
      </pc:sldChg>
      <pc:sldChg chg="modSp del">
        <pc:chgData name="Gastbenutzer" userId="" providerId="Windows Live" clId="Web-{64FD9C7A-CF0F-7056-4757-476A534F645B}" dt="2025-04-24T06:54:03.584" v="271"/>
        <pc:sldMkLst>
          <pc:docMk/>
          <pc:sldMk cId="4276100321" sldId="313"/>
        </pc:sldMkLst>
        <pc:spChg chg="mod">
          <ac:chgData name="Gastbenutzer" userId="" providerId="Windows Live" clId="Web-{64FD9C7A-CF0F-7056-4757-476A534F645B}" dt="2025-04-23T19:27:21.673" v="22" actId="20577"/>
          <ac:spMkLst>
            <pc:docMk/>
            <pc:sldMk cId="4276100321" sldId="313"/>
            <ac:spMk id="31" creationId="{2604A3F2-D754-58A7-EF5E-9C538F63267E}"/>
          </ac:spMkLst>
        </pc:spChg>
      </pc:sldChg>
      <pc:sldChg chg="del">
        <pc:chgData name="Gastbenutzer" userId="" providerId="Windows Live" clId="Web-{64FD9C7A-CF0F-7056-4757-476A534F645B}" dt="2025-04-24T06:54:19.991" v="272"/>
        <pc:sldMkLst>
          <pc:docMk/>
          <pc:sldMk cId="236381820" sldId="317"/>
        </pc:sldMkLst>
      </pc:sldChg>
      <pc:sldChg chg="addSp modSp">
        <pc:chgData name="Gastbenutzer" userId="" providerId="Windows Live" clId="Web-{64FD9C7A-CF0F-7056-4757-476A534F645B}" dt="2025-04-24T07:13:03.636" v="503" actId="20577"/>
        <pc:sldMkLst>
          <pc:docMk/>
          <pc:sldMk cId="1667961473" sldId="320"/>
        </pc:sldMkLst>
        <pc:spChg chg="mod">
          <ac:chgData name="Gastbenutzer" userId="" providerId="Windows Live" clId="Web-{64FD9C7A-CF0F-7056-4757-476A534F645B}" dt="2025-04-24T06:55:32.900" v="303" actId="1076"/>
          <ac:spMkLst>
            <pc:docMk/>
            <pc:sldMk cId="1667961473" sldId="320"/>
            <ac:spMk id="6" creationId="{CF8A684A-0160-1373-E77E-C0D7F5EF3760}"/>
          </ac:spMkLst>
        </pc:spChg>
        <pc:spChg chg="mod">
          <ac:chgData name="Gastbenutzer" userId="" providerId="Windows Live" clId="Web-{64FD9C7A-CF0F-7056-4757-476A534F645B}" dt="2025-04-24T06:56:14.901" v="319" actId="1076"/>
          <ac:spMkLst>
            <pc:docMk/>
            <pc:sldMk cId="1667961473" sldId="320"/>
            <ac:spMk id="7" creationId="{9D5B7A4B-FB66-354E-757B-2169903D8AB0}"/>
          </ac:spMkLst>
        </pc:spChg>
        <pc:spChg chg="mod">
          <ac:chgData name="Gastbenutzer" userId="" providerId="Windows Live" clId="Web-{64FD9C7A-CF0F-7056-4757-476A534F645B}" dt="2025-04-24T06:56:36.027" v="323" actId="1076"/>
          <ac:spMkLst>
            <pc:docMk/>
            <pc:sldMk cId="1667961473" sldId="320"/>
            <ac:spMk id="8" creationId="{976AAB53-9BA1-048B-7F62-0D70C8EEEBB4}"/>
          </ac:spMkLst>
        </pc:spChg>
        <pc:spChg chg="mod">
          <ac:chgData name="Gastbenutzer" userId="" providerId="Windows Live" clId="Web-{64FD9C7A-CF0F-7056-4757-476A534F645B}" dt="2025-04-24T07:09:36.864" v="455" actId="20577"/>
          <ac:spMkLst>
            <pc:docMk/>
            <pc:sldMk cId="1667961473" sldId="320"/>
            <ac:spMk id="9" creationId="{B3E31BF4-8A6B-69C6-3429-594F00A22615}"/>
          </ac:spMkLst>
        </pc:spChg>
        <pc:spChg chg="mod">
          <ac:chgData name="Gastbenutzer" userId="" providerId="Windows Live" clId="Web-{64FD9C7A-CF0F-7056-4757-476A534F645B}" dt="2025-04-24T07:12:46.776" v="501" actId="14100"/>
          <ac:spMkLst>
            <pc:docMk/>
            <pc:sldMk cId="1667961473" sldId="320"/>
            <ac:spMk id="10" creationId="{FF31F270-416B-D51A-39BD-174F5D1C264D}"/>
          </ac:spMkLst>
        </pc:spChg>
        <pc:spChg chg="mod">
          <ac:chgData name="Gastbenutzer" userId="" providerId="Windows Live" clId="Web-{64FD9C7A-CF0F-7056-4757-476A534F645B}" dt="2025-04-24T07:11:43.039" v="481" actId="20577"/>
          <ac:spMkLst>
            <pc:docMk/>
            <pc:sldMk cId="1667961473" sldId="320"/>
            <ac:spMk id="11" creationId="{E05EDAB9-38BC-2E1E-0DC4-F94B6F23DFAE}"/>
          </ac:spMkLst>
        </pc:spChg>
        <pc:spChg chg="add mod">
          <ac:chgData name="Gastbenutzer" userId="" providerId="Windows Live" clId="Web-{64FD9C7A-CF0F-7056-4757-476A534F645B}" dt="2025-04-24T06:58:27.015" v="342" actId="20577"/>
          <ac:spMkLst>
            <pc:docMk/>
            <pc:sldMk cId="1667961473" sldId="320"/>
            <ac:spMk id="12" creationId="{8F171269-3E26-9897-A61A-99FB1E8620E5}"/>
          </ac:spMkLst>
        </pc:spChg>
        <pc:spChg chg="mod">
          <ac:chgData name="Gastbenutzer" userId="" providerId="Windows Live" clId="Web-{64FD9C7A-CF0F-7056-4757-476A534F645B}" dt="2025-04-24T07:12:46.729" v="499" actId="14100"/>
          <ac:spMkLst>
            <pc:docMk/>
            <pc:sldMk cId="1667961473" sldId="320"/>
            <ac:spMk id="17" creationId="{056690F8-F65A-8053-24C8-40DECA3EE891}"/>
          </ac:spMkLst>
        </pc:spChg>
        <pc:spChg chg="mod">
          <ac:chgData name="Gastbenutzer" userId="" providerId="Windows Live" clId="Web-{64FD9C7A-CF0F-7056-4757-476A534F645B}" dt="2025-04-24T06:56:14.885" v="318" actId="1076"/>
          <ac:spMkLst>
            <pc:docMk/>
            <pc:sldMk cId="1667961473" sldId="320"/>
            <ac:spMk id="18" creationId="{9E854681-5C20-8E9E-14E4-BF76B42C0A7A}"/>
          </ac:spMkLst>
        </pc:spChg>
        <pc:spChg chg="mod">
          <ac:chgData name="Gastbenutzer" userId="" providerId="Windows Live" clId="Web-{64FD9C7A-CF0F-7056-4757-476A534F645B}" dt="2025-04-24T07:12:46.760" v="500" actId="14100"/>
          <ac:spMkLst>
            <pc:docMk/>
            <pc:sldMk cId="1667961473" sldId="320"/>
            <ac:spMk id="19" creationId="{18C6F1C4-7482-79E8-EE7A-A234600550FD}"/>
          </ac:spMkLst>
        </pc:spChg>
        <pc:spChg chg="add mod">
          <ac:chgData name="Gastbenutzer" userId="" providerId="Windows Live" clId="Web-{64FD9C7A-CF0F-7056-4757-476A534F645B}" dt="2025-04-24T07:13:03.636" v="503" actId="20577"/>
          <ac:spMkLst>
            <pc:docMk/>
            <pc:sldMk cId="1667961473" sldId="320"/>
            <ac:spMk id="20" creationId="{374CD622-8D23-B227-E4BF-95E4A2F59495}"/>
          </ac:spMkLst>
        </pc:spChg>
      </pc:sldChg>
      <pc:sldChg chg="addSp modSp add del replId">
        <pc:chgData name="Gastbenutzer" userId="" providerId="Windows Live" clId="Web-{64FD9C7A-CF0F-7056-4757-476A534F645B}" dt="2025-04-24T06:53:56.584" v="270"/>
        <pc:sldMkLst>
          <pc:docMk/>
          <pc:sldMk cId="828868608" sldId="321"/>
        </pc:sldMkLst>
        <pc:spChg chg="add mod">
          <ac:chgData name="Gastbenutzer" userId="" providerId="Windows Live" clId="Web-{64FD9C7A-CF0F-7056-4757-476A534F645B}" dt="2025-04-23T21:26:15.110" v="236"/>
          <ac:spMkLst>
            <pc:docMk/>
            <pc:sldMk cId="828868608" sldId="321"/>
            <ac:spMk id="2" creationId="{920EF36D-5644-8056-1045-095A3C83CC06}"/>
          </ac:spMkLst>
        </pc:spChg>
        <pc:spChg chg="add mod">
          <ac:chgData name="Gastbenutzer" userId="" providerId="Windows Live" clId="Web-{64FD9C7A-CF0F-7056-4757-476A534F645B}" dt="2025-04-24T06:47:41.229" v="240" actId="14100"/>
          <ac:spMkLst>
            <pc:docMk/>
            <pc:sldMk cId="828868608" sldId="321"/>
            <ac:spMk id="3" creationId="{3306847C-99A0-E777-042E-5C1625152D19}"/>
          </ac:spMkLst>
        </pc:spChg>
        <pc:spChg chg="mod">
          <ac:chgData name="Gastbenutzer" userId="" providerId="Windows Live" clId="Web-{64FD9C7A-CF0F-7056-4757-476A534F645B}" dt="2025-04-24T06:47:45.932" v="241" actId="14100"/>
          <ac:spMkLst>
            <pc:docMk/>
            <pc:sldMk cId="828868608" sldId="321"/>
            <ac:spMk id="20" creationId="{46895367-ACFD-55D7-CD08-29FA4713D44F}"/>
          </ac:spMkLst>
        </pc:spChg>
        <pc:spChg chg="mod">
          <ac:chgData name="Gastbenutzer" userId="" providerId="Windows Live" clId="Web-{64FD9C7A-CF0F-7056-4757-476A534F645B}" dt="2025-04-23T21:25:10.484" v="229" actId="1076"/>
          <ac:spMkLst>
            <pc:docMk/>
            <pc:sldMk cId="828868608" sldId="321"/>
            <ac:spMk id="21" creationId="{A405AE22-87BF-EA13-5F7E-1CB7AB1AD2FE}"/>
          </ac:spMkLst>
        </pc:spChg>
        <pc:spChg chg="mod">
          <ac:chgData name="Gastbenutzer" userId="" providerId="Windows Live" clId="Web-{64FD9C7A-CF0F-7056-4757-476A534F645B}" dt="2025-04-23T21:24:39.842" v="223" actId="14100"/>
          <ac:spMkLst>
            <pc:docMk/>
            <pc:sldMk cId="828868608" sldId="321"/>
            <ac:spMk id="22" creationId="{A359BC74-4FF2-5B94-9C2A-55B4E32B7443}"/>
          </ac:spMkLst>
        </pc:spChg>
        <pc:spChg chg="mod">
          <ac:chgData name="Gastbenutzer" userId="" providerId="Windows Live" clId="Web-{64FD9C7A-CF0F-7056-4757-476A534F645B}" dt="2025-04-24T06:47:54.307" v="242" actId="1076"/>
          <ac:spMkLst>
            <pc:docMk/>
            <pc:sldMk cId="828868608" sldId="321"/>
            <ac:spMk id="30" creationId="{52A429C0-0E2D-DAFD-664B-B89A7C35E925}"/>
          </ac:spMkLst>
        </pc:spChg>
        <pc:spChg chg="mod">
          <ac:chgData name="Gastbenutzer" userId="" providerId="Windows Live" clId="Web-{64FD9C7A-CF0F-7056-4757-476A534F645B}" dt="2025-04-23T21:25:17.187" v="231" actId="1076"/>
          <ac:spMkLst>
            <pc:docMk/>
            <pc:sldMk cId="828868608" sldId="321"/>
            <ac:spMk id="31" creationId="{C5DC81E5-CF82-AB64-2213-9F1AACD48EE4}"/>
          </ac:spMkLst>
        </pc:spChg>
        <pc:spChg chg="mod">
          <ac:chgData name="Gastbenutzer" userId="" providerId="Windows Live" clId="Web-{64FD9C7A-CF0F-7056-4757-476A534F645B}" dt="2025-04-23T21:25:07.030" v="228" actId="1076"/>
          <ac:spMkLst>
            <pc:docMk/>
            <pc:sldMk cId="828868608" sldId="321"/>
            <ac:spMk id="32" creationId="{9C7E98EC-0A01-0611-EF88-B48D7CE4EFC9}"/>
          </ac:spMkLst>
        </pc:spChg>
      </pc:sldChg>
      <pc:sldChg chg="add replId">
        <pc:chgData name="Gastbenutzer" userId="" providerId="Windows Live" clId="Web-{64FD9C7A-CF0F-7056-4757-476A534F645B}" dt="2025-04-24T06:31:38.650" v="237"/>
        <pc:sldMkLst>
          <pc:docMk/>
          <pc:sldMk cId="2719014420" sldId="323"/>
        </pc:sldMkLst>
      </pc:sldChg>
      <pc:sldChg chg="modSp del">
        <pc:chgData name="Gastbenutzer" userId="" providerId="Windows Live" clId="Web-{64FD9C7A-CF0F-7056-4757-476A534F645B}" dt="2025-04-24T07:32:58.985" v="631"/>
        <pc:sldMkLst>
          <pc:docMk/>
          <pc:sldMk cId="834671015" sldId="325"/>
        </pc:sldMkLst>
        <pc:spChg chg="mod">
          <ac:chgData name="Gastbenutzer" userId="" providerId="Windows Live" clId="Web-{64FD9C7A-CF0F-7056-4757-476A534F645B}" dt="2025-04-24T07:16:39.142" v="560" actId="20577"/>
          <ac:spMkLst>
            <pc:docMk/>
            <pc:sldMk cId="834671015" sldId="325"/>
            <ac:spMk id="17" creationId="{090D43CD-28E7-83CC-C3C6-333C899DEAD8}"/>
          </ac:spMkLst>
        </pc:spChg>
      </pc:sldChg>
      <pc:sldChg chg="delSp modSp add ord replId">
        <pc:chgData name="Gastbenutzer" userId="" providerId="Windows Live" clId="Web-{64FD9C7A-CF0F-7056-4757-476A534F645B}" dt="2025-04-24T07:41:17.626" v="652" actId="20577"/>
        <pc:sldMkLst>
          <pc:docMk/>
          <pc:sldMk cId="3024128567" sldId="326"/>
        </pc:sldMkLst>
        <pc:spChg chg="mod">
          <ac:chgData name="Gastbenutzer" userId="" providerId="Windows Live" clId="Web-{64FD9C7A-CF0F-7056-4757-476A534F645B}" dt="2025-04-24T07:40:16.812" v="640" actId="20577"/>
          <ac:spMkLst>
            <pc:docMk/>
            <pc:sldMk cId="3024128567" sldId="326"/>
            <ac:spMk id="30" creationId="{D4F79C2C-205F-1293-D3FA-8C1CF7A27AF8}"/>
          </ac:spMkLst>
        </pc:spChg>
        <pc:spChg chg="mod">
          <ac:chgData name="Gastbenutzer" userId="" providerId="Windows Live" clId="Web-{64FD9C7A-CF0F-7056-4757-476A534F645B}" dt="2025-04-24T07:41:14.923" v="647" actId="20577"/>
          <ac:spMkLst>
            <pc:docMk/>
            <pc:sldMk cId="3024128567" sldId="326"/>
            <ac:spMk id="31" creationId="{9A4D09B6-A143-74D3-8B59-DDE60A4DCB4B}"/>
          </ac:spMkLst>
        </pc:spChg>
        <pc:spChg chg="mod">
          <ac:chgData name="Gastbenutzer" userId="" providerId="Windows Live" clId="Web-{64FD9C7A-CF0F-7056-4757-476A534F645B}" dt="2025-04-24T07:41:17.626" v="652" actId="20577"/>
          <ac:spMkLst>
            <pc:docMk/>
            <pc:sldMk cId="3024128567" sldId="326"/>
            <ac:spMk id="32" creationId="{6B974DE9-8B9F-3038-2919-196D9E593904}"/>
          </ac:spMkLst>
        </pc:spChg>
        <pc:spChg chg="del">
          <ac:chgData name="Gastbenutzer" userId="" providerId="Windows Live" clId="Web-{64FD9C7A-CF0F-7056-4757-476A534F645B}" dt="2025-04-24T06:53:37.412" v="268"/>
          <ac:spMkLst>
            <pc:docMk/>
            <pc:sldMk cId="3024128567" sldId="326"/>
            <ac:spMk id="33" creationId="{1A99FA1C-DF61-9DBE-4256-41CA72E582E6}"/>
          </ac:spMkLst>
        </pc:spChg>
      </pc:sldChg>
      <pc:sldChg chg="addSp delSp modSp add del replId">
        <pc:chgData name="Gastbenutzer" userId="" providerId="Windows Live" clId="Web-{64FD9C7A-CF0F-7056-4757-476A534F645B}" dt="2025-04-24T07:32:55.048" v="630"/>
        <pc:sldMkLst>
          <pc:docMk/>
          <pc:sldMk cId="1722808011" sldId="329"/>
        </pc:sldMkLst>
        <pc:spChg chg="mod">
          <ac:chgData name="Gastbenutzer" userId="" providerId="Windows Live" clId="Web-{64FD9C7A-CF0F-7056-4757-476A534F645B}" dt="2025-04-24T07:27:51.445" v="622" actId="14100"/>
          <ac:spMkLst>
            <pc:docMk/>
            <pc:sldMk cId="1722808011" sldId="329"/>
            <ac:spMk id="6" creationId="{E7C1ABE9-C900-2212-4F1B-4D3EE26867CA}"/>
          </ac:spMkLst>
        </pc:spChg>
        <pc:spChg chg="mod">
          <ac:chgData name="Gastbenutzer" userId="" providerId="Windows Live" clId="Web-{64FD9C7A-CF0F-7056-4757-476A534F645B}" dt="2025-04-24T07:28:46.540" v="629" actId="1076"/>
          <ac:spMkLst>
            <pc:docMk/>
            <pc:sldMk cId="1722808011" sldId="329"/>
            <ac:spMk id="8" creationId="{55356D23-3700-F1EF-62FC-C4B127059C03}"/>
          </ac:spMkLst>
        </pc:spChg>
        <pc:spChg chg="del mod">
          <ac:chgData name="Gastbenutzer" userId="" providerId="Windows Live" clId="Web-{64FD9C7A-CF0F-7056-4757-476A534F645B}" dt="2025-04-24T07:27:21.178" v="620"/>
          <ac:spMkLst>
            <pc:docMk/>
            <pc:sldMk cId="1722808011" sldId="329"/>
            <ac:spMk id="10" creationId="{29EB0612-2A45-EB58-9499-7400F40A895E}"/>
          </ac:spMkLst>
        </pc:spChg>
        <pc:spChg chg="mod">
          <ac:chgData name="Gastbenutzer" userId="" providerId="Windows Live" clId="Web-{64FD9C7A-CF0F-7056-4757-476A534F645B}" dt="2025-04-24T07:28:41.431" v="628" actId="20577"/>
          <ac:spMkLst>
            <pc:docMk/>
            <pc:sldMk cId="1722808011" sldId="329"/>
            <ac:spMk id="12" creationId="{4AC3F7F0-C276-ED63-A147-92537506CAD3}"/>
          </ac:spMkLst>
        </pc:spChg>
        <pc:spChg chg="del">
          <ac:chgData name="Gastbenutzer" userId="" providerId="Windows Live" clId="Web-{64FD9C7A-CF0F-7056-4757-476A534F645B}" dt="2025-04-24T07:17:11.331" v="562"/>
          <ac:spMkLst>
            <pc:docMk/>
            <pc:sldMk cId="1722808011" sldId="329"/>
            <ac:spMk id="14" creationId="{561E7192-2895-7348-7FFD-81B9A6FDF965}"/>
          </ac:spMkLst>
        </pc:spChg>
        <pc:spChg chg="del">
          <ac:chgData name="Gastbenutzer" userId="" providerId="Windows Live" clId="Web-{64FD9C7A-CF0F-7056-4757-476A534F645B}" dt="2025-04-24T07:18:18.724" v="568"/>
          <ac:spMkLst>
            <pc:docMk/>
            <pc:sldMk cId="1722808011" sldId="329"/>
            <ac:spMk id="15" creationId="{71D58566-7B01-6F2C-9BFD-26F9426424C4}"/>
          </ac:spMkLst>
        </pc:spChg>
        <pc:spChg chg="del">
          <ac:chgData name="Gastbenutzer" userId="" providerId="Windows Live" clId="Web-{64FD9C7A-CF0F-7056-4757-476A534F645B}" dt="2025-04-24T07:19:10.678" v="575"/>
          <ac:spMkLst>
            <pc:docMk/>
            <pc:sldMk cId="1722808011" sldId="329"/>
            <ac:spMk id="16" creationId="{CD9E9050-34CA-0F09-D6E6-58F3D537547B}"/>
          </ac:spMkLst>
        </pc:spChg>
        <pc:spChg chg="del mod">
          <ac:chgData name="Gastbenutzer" userId="" providerId="Windows Live" clId="Web-{64FD9C7A-CF0F-7056-4757-476A534F645B}" dt="2025-04-24T07:27:13.834" v="618"/>
          <ac:spMkLst>
            <pc:docMk/>
            <pc:sldMk cId="1722808011" sldId="329"/>
            <ac:spMk id="17" creationId="{1558E44C-A014-6BC2-6628-17A54CE76E16}"/>
          </ac:spMkLst>
        </pc:spChg>
        <pc:spChg chg="del mod">
          <ac:chgData name="Gastbenutzer" userId="" providerId="Windows Live" clId="Web-{64FD9C7A-CF0F-7056-4757-476A534F645B}" dt="2025-04-24T07:19:53.664" v="581"/>
          <ac:spMkLst>
            <pc:docMk/>
            <pc:sldMk cId="1722808011" sldId="329"/>
            <ac:spMk id="18" creationId="{E8A40DEB-9F9A-6425-76C2-9D202015A103}"/>
          </ac:spMkLst>
        </pc:spChg>
        <pc:picChg chg="add mod">
          <ac:chgData name="Gastbenutzer" userId="" providerId="Windows Live" clId="Web-{64FD9C7A-CF0F-7056-4757-476A534F645B}" dt="2025-04-24T07:17:41.660" v="567" actId="14100"/>
          <ac:picMkLst>
            <pc:docMk/>
            <pc:sldMk cId="1722808011" sldId="329"/>
            <ac:picMk id="13" creationId="{C2A4A22C-6A71-98E3-DB6E-21A086FD51D4}"/>
          </ac:picMkLst>
        </pc:picChg>
        <pc:picChg chg="add mod">
          <ac:chgData name="Gastbenutzer" userId="" providerId="Windows Live" clId="Web-{64FD9C7A-CF0F-7056-4757-476A534F645B}" dt="2025-04-24T07:25:42.300" v="608" actId="1076"/>
          <ac:picMkLst>
            <pc:docMk/>
            <pc:sldMk cId="1722808011" sldId="329"/>
            <ac:picMk id="19" creationId="{72FE78F7-7390-2172-C50A-CC9030919A19}"/>
          </ac:picMkLst>
        </pc:picChg>
        <pc:picChg chg="add mod">
          <ac:chgData name="Gastbenutzer" userId="" providerId="Windows Live" clId="Web-{64FD9C7A-CF0F-7056-4757-476A534F645B}" dt="2025-04-24T07:19:14.507" v="576" actId="1076"/>
          <ac:picMkLst>
            <pc:docMk/>
            <pc:sldMk cId="1722808011" sldId="329"/>
            <ac:picMk id="20" creationId="{9D723349-9ED1-3769-D5CF-ED4ADDA13812}"/>
          </ac:picMkLst>
        </pc:picChg>
        <pc:picChg chg="add mod">
          <ac:chgData name="Gastbenutzer" userId="" providerId="Windows Live" clId="Web-{64FD9C7A-CF0F-7056-4757-476A534F645B}" dt="2025-04-24T07:19:56.195" v="582" actId="1076"/>
          <ac:picMkLst>
            <pc:docMk/>
            <pc:sldMk cId="1722808011" sldId="329"/>
            <ac:picMk id="21" creationId="{CE7A81A8-F7DA-CFE8-68AC-87F7782AF286}"/>
          </ac:picMkLst>
        </pc:picChg>
        <pc:picChg chg="add mod">
          <ac:chgData name="Gastbenutzer" userId="" providerId="Windows Live" clId="Web-{64FD9C7A-CF0F-7056-4757-476A534F645B}" dt="2025-04-24T07:20:25.821" v="585" actId="1076"/>
          <ac:picMkLst>
            <pc:docMk/>
            <pc:sldMk cId="1722808011" sldId="329"/>
            <ac:picMk id="22" creationId="{9DC2068E-B859-37AA-C17E-557D1CE73AE5}"/>
          </ac:picMkLst>
        </pc:picChg>
        <pc:picChg chg="add del mod">
          <ac:chgData name="Gastbenutzer" userId="" providerId="Windows Live" clId="Web-{64FD9C7A-CF0F-7056-4757-476A534F645B}" dt="2025-04-24T07:21:22.026" v="588"/>
          <ac:picMkLst>
            <pc:docMk/>
            <pc:sldMk cId="1722808011" sldId="329"/>
            <ac:picMk id="23" creationId="{002FB0D9-0EE3-B2D6-A75E-13233C799BB7}"/>
          </ac:picMkLst>
        </pc:picChg>
        <pc:picChg chg="add del mod">
          <ac:chgData name="Gastbenutzer" userId="" providerId="Windows Live" clId="Web-{64FD9C7A-CF0F-7056-4757-476A534F645B}" dt="2025-04-24T07:21:36.167" v="590"/>
          <ac:picMkLst>
            <pc:docMk/>
            <pc:sldMk cId="1722808011" sldId="329"/>
            <ac:picMk id="26" creationId="{5A67472B-1521-B5F3-1CE5-BAB1E849DED1}"/>
          </ac:picMkLst>
        </pc:picChg>
        <pc:picChg chg="add del mod">
          <ac:chgData name="Gastbenutzer" userId="" providerId="Windows Live" clId="Web-{64FD9C7A-CF0F-7056-4757-476A534F645B}" dt="2025-04-24T07:21:54.808" v="592"/>
          <ac:picMkLst>
            <pc:docMk/>
            <pc:sldMk cId="1722808011" sldId="329"/>
            <ac:picMk id="27" creationId="{150575E9-B8EC-65EB-B5BB-39761C674571}"/>
          </ac:picMkLst>
        </pc:picChg>
        <pc:picChg chg="add mod">
          <ac:chgData name="Gastbenutzer" userId="" providerId="Windows Live" clId="Web-{64FD9C7A-CF0F-7056-4757-476A534F645B}" dt="2025-04-24T07:22:37.091" v="596" actId="14100"/>
          <ac:picMkLst>
            <pc:docMk/>
            <pc:sldMk cId="1722808011" sldId="329"/>
            <ac:picMk id="28" creationId="{0026C1D5-6C88-5355-B4DA-87150920CE2F}"/>
          </ac:picMkLst>
        </pc:picChg>
        <pc:picChg chg="add del mod">
          <ac:chgData name="Gastbenutzer" userId="" providerId="Windows Live" clId="Web-{64FD9C7A-CF0F-7056-4757-476A534F645B}" dt="2025-04-24T07:26:26.754" v="613"/>
          <ac:picMkLst>
            <pc:docMk/>
            <pc:sldMk cId="1722808011" sldId="329"/>
            <ac:picMk id="29" creationId="{6118A37C-EF8F-AD9C-94B0-78B130043FAC}"/>
          </ac:picMkLst>
        </pc:picChg>
        <pc:picChg chg="add mod">
          <ac:chgData name="Gastbenutzer" userId="" providerId="Windows Live" clId="Web-{64FD9C7A-CF0F-7056-4757-476A534F645B}" dt="2025-04-24T07:23:48.437" v="603" actId="1076"/>
          <ac:picMkLst>
            <pc:docMk/>
            <pc:sldMk cId="1722808011" sldId="329"/>
            <ac:picMk id="32" creationId="{264000E5-4420-BF63-085D-57382B9D8673}"/>
          </ac:picMkLst>
        </pc:picChg>
        <pc:picChg chg="add mod">
          <ac:chgData name="Gastbenutzer" userId="" providerId="Windows Live" clId="Web-{64FD9C7A-CF0F-7056-4757-476A534F645B}" dt="2025-04-24T07:24:19.329" v="606" actId="1076"/>
          <ac:picMkLst>
            <pc:docMk/>
            <pc:sldMk cId="1722808011" sldId="329"/>
            <ac:picMk id="39" creationId="{1DD0A6C1-15D3-C786-03AF-0C437184FB38}"/>
          </ac:picMkLst>
        </pc:picChg>
        <pc:picChg chg="add mod">
          <ac:chgData name="Gastbenutzer" userId="" providerId="Windows Live" clId="Web-{64FD9C7A-CF0F-7056-4757-476A534F645B}" dt="2025-04-24T07:25:48.191" v="610" actId="1076"/>
          <ac:picMkLst>
            <pc:docMk/>
            <pc:sldMk cId="1722808011" sldId="329"/>
            <ac:picMk id="42" creationId="{4F1E90F0-F369-E02E-311E-D1A1EBEF3764}"/>
          </ac:picMkLst>
        </pc:picChg>
        <pc:picChg chg="add mod">
          <ac:chgData name="Gastbenutzer" userId="" providerId="Windows Live" clId="Web-{64FD9C7A-CF0F-7056-4757-476A534F645B}" dt="2025-04-24T07:26:30.114" v="614" actId="1076"/>
          <ac:picMkLst>
            <pc:docMk/>
            <pc:sldMk cId="1722808011" sldId="329"/>
            <ac:picMk id="43" creationId="{A825C844-B45B-6FAF-70B6-28FC2B6B2BB8}"/>
          </ac:picMkLst>
        </pc:picChg>
        <pc:picChg chg="add mod">
          <ac:chgData name="Gastbenutzer" userId="" providerId="Windows Live" clId="Web-{64FD9C7A-CF0F-7056-4757-476A534F645B}" dt="2025-04-24T07:27:03.271" v="617" actId="1076"/>
          <ac:picMkLst>
            <pc:docMk/>
            <pc:sldMk cId="1722808011" sldId="329"/>
            <ac:picMk id="44" creationId="{21608497-0B8D-CD94-37DD-B7831FA13623}"/>
          </ac:picMkLst>
        </pc:picChg>
      </pc:sldChg>
      <pc:sldChg chg="add replId">
        <pc:chgData name="Gastbenutzer" userId="" providerId="Windows Live" clId="Web-{64FD9C7A-CF0F-7056-4757-476A534F645B}" dt="2025-04-24T07:34:00.050" v="632"/>
        <pc:sldMkLst>
          <pc:docMk/>
          <pc:sldMk cId="3065724282" sldId="332"/>
        </pc:sldMkLst>
      </pc:sldChg>
      <pc:sldChg chg="addSp delSp modSp">
        <pc:chgData name="Gastbenutzer" userId="" providerId="Windows Live" clId="Web-{64FD9C7A-CF0F-7056-4757-476A534F645B}" dt="2025-04-24T08:25:12.683" v="682" actId="1076"/>
        <pc:sldMkLst>
          <pc:docMk/>
          <pc:sldMk cId="2740457966" sldId="334"/>
        </pc:sldMkLst>
        <pc:picChg chg="add mod">
          <ac:chgData name="Gastbenutzer" userId="" providerId="Windows Live" clId="Web-{64FD9C7A-CF0F-7056-4757-476A534F645B}" dt="2025-04-24T08:00:57.210" v="667"/>
          <ac:picMkLst>
            <pc:docMk/>
            <pc:sldMk cId="2740457966" sldId="334"/>
            <ac:picMk id="5" creationId="{C4681BC6-79C8-D7CC-0788-064086319F9B}"/>
          </ac:picMkLst>
        </pc:picChg>
        <pc:picChg chg="add del mod">
          <ac:chgData name="Gastbenutzer" userId="" providerId="Windows Live" clId="Web-{64FD9C7A-CF0F-7056-4757-476A534F645B}" dt="2025-04-24T08:02:18.728" v="669"/>
          <ac:picMkLst>
            <pc:docMk/>
            <pc:sldMk cId="2740457966" sldId="334"/>
            <ac:picMk id="10" creationId="{A1A1D500-C777-D684-DF9E-F3B00F418CE7}"/>
          </ac:picMkLst>
        </pc:picChg>
        <pc:picChg chg="mod">
          <ac:chgData name="Gastbenutzer" userId="" providerId="Windows Live" clId="Web-{64FD9C7A-CF0F-7056-4757-476A534F645B}" dt="2025-04-24T08:25:12.683" v="682" actId="1076"/>
          <ac:picMkLst>
            <pc:docMk/>
            <pc:sldMk cId="2740457966" sldId="334"/>
            <ac:picMk id="21" creationId="{48DCFD44-F917-8BFD-3FE3-39EB1B6DE62F}"/>
          </ac:picMkLst>
        </pc:picChg>
        <pc:picChg chg="mod">
          <ac:chgData name="Gastbenutzer" userId="" providerId="Windows Live" clId="Web-{64FD9C7A-CF0F-7056-4757-476A534F645B}" dt="2025-04-24T08:25:06.620" v="681" actId="1076"/>
          <ac:picMkLst>
            <pc:docMk/>
            <pc:sldMk cId="2740457966" sldId="334"/>
            <ac:picMk id="23" creationId="{11DC3623-CC26-9CFE-C950-587341042B60}"/>
          </ac:picMkLst>
        </pc:picChg>
        <pc:picChg chg="add mod">
          <ac:chgData name="Gastbenutzer" userId="" providerId="Windows Live" clId="Web-{64FD9C7A-CF0F-7056-4757-476A534F645B}" dt="2025-04-24T08:07:21.753" v="678" actId="14100"/>
          <ac:picMkLst>
            <pc:docMk/>
            <pc:sldMk cId="2740457966" sldId="334"/>
            <ac:picMk id="24" creationId="{39B08DA1-25CB-6780-51A9-CDA2FD6F19A1}"/>
          </ac:picMkLst>
        </pc:picChg>
      </pc:sldChg>
    </pc:docChg>
  </pc:docChgLst>
  <pc:docChgLst>
    <pc:chgData name="Faller, Florian" userId="0d91997e-4063-4ee6-a400-5440b881572d" providerId="ADAL" clId="{31BEF2CD-DBC8-4D67-A0EC-BC2499E5297C}"/>
    <pc:docChg chg="undo custSel modSld sldOrd">
      <pc:chgData name="Faller, Florian" userId="0d91997e-4063-4ee6-a400-5440b881572d" providerId="ADAL" clId="{31BEF2CD-DBC8-4D67-A0EC-BC2499E5297C}" dt="2025-04-22T16:41:53.962" v="97" actId="14100"/>
      <pc:docMkLst>
        <pc:docMk/>
      </pc:docMkLst>
      <pc:sldChg chg="modSp mod">
        <pc:chgData name="Faller, Florian" userId="0d91997e-4063-4ee6-a400-5440b881572d" providerId="ADAL" clId="{31BEF2CD-DBC8-4D67-A0EC-BC2499E5297C}" dt="2025-04-22T16:41:53.962" v="97" actId="14100"/>
        <pc:sldMkLst>
          <pc:docMk/>
          <pc:sldMk cId="2737334246" sldId="284"/>
        </pc:sldMkLst>
      </pc:sldChg>
      <pc:sldChg chg="modSp mod">
        <pc:chgData name="Faller, Florian" userId="0d91997e-4063-4ee6-a400-5440b881572d" providerId="ADAL" clId="{31BEF2CD-DBC8-4D67-A0EC-BC2499E5297C}" dt="2025-04-22T16:37:10.005" v="25" actId="20577"/>
        <pc:sldMkLst>
          <pc:docMk/>
          <pc:sldMk cId="1319198600" sldId="286"/>
        </pc:sldMkLst>
        <pc:spChg chg="mod">
          <ac:chgData name="Faller, Florian" userId="0d91997e-4063-4ee6-a400-5440b881572d" providerId="ADAL" clId="{31BEF2CD-DBC8-4D67-A0EC-BC2499E5297C}" dt="2025-04-22T16:37:10.005" v="25" actId="20577"/>
          <ac:spMkLst>
            <pc:docMk/>
            <pc:sldMk cId="1319198600" sldId="286"/>
            <ac:spMk id="9" creationId="{8FF2AD7E-F0A2-ECFB-D2F3-81261DA61946}"/>
          </ac:spMkLst>
        </pc:spChg>
      </pc:sldChg>
      <pc:sldChg chg="modSp mod ord">
        <pc:chgData name="Faller, Florian" userId="0d91997e-4063-4ee6-a400-5440b881572d" providerId="ADAL" clId="{31BEF2CD-DBC8-4D67-A0EC-BC2499E5297C}" dt="2025-04-22T16:40:54.055" v="56" actId="20577"/>
        <pc:sldMkLst>
          <pc:docMk/>
          <pc:sldMk cId="2387142617" sldId="287"/>
        </pc:sldMkLst>
        <pc:spChg chg="mod">
          <ac:chgData name="Faller, Florian" userId="0d91997e-4063-4ee6-a400-5440b881572d" providerId="ADAL" clId="{31BEF2CD-DBC8-4D67-A0EC-BC2499E5297C}" dt="2025-04-22T16:39:45.121" v="38" actId="108"/>
          <ac:spMkLst>
            <pc:docMk/>
            <pc:sldMk cId="2387142617" sldId="287"/>
            <ac:spMk id="24" creationId="{14D7C716-F571-A10A-BCD6-21F5199B3E08}"/>
          </ac:spMkLst>
        </pc:spChg>
        <pc:spChg chg="mod">
          <ac:chgData name="Faller, Florian" userId="0d91997e-4063-4ee6-a400-5440b881572d" providerId="ADAL" clId="{31BEF2CD-DBC8-4D67-A0EC-BC2499E5297C}" dt="2025-04-22T16:40:54.055" v="56" actId="20577"/>
          <ac:spMkLst>
            <pc:docMk/>
            <pc:sldMk cId="2387142617" sldId="287"/>
            <ac:spMk id="25" creationId="{62F0EC84-7888-4AB0-E029-AE0234EADD9B}"/>
          </ac:spMkLst>
        </pc:spChg>
        <pc:spChg chg="mod">
          <ac:chgData name="Faller, Florian" userId="0d91997e-4063-4ee6-a400-5440b881572d" providerId="ADAL" clId="{31BEF2CD-DBC8-4D67-A0EC-BC2499E5297C}" dt="2025-04-22T16:39:39.328" v="36" actId="108"/>
          <ac:spMkLst>
            <pc:docMk/>
            <pc:sldMk cId="2387142617" sldId="287"/>
            <ac:spMk id="30" creationId="{C043112D-3555-C2F3-59A5-0EB49C4BED6D}"/>
          </ac:spMkLst>
        </pc:spChg>
        <pc:spChg chg="mod">
          <ac:chgData name="Faller, Florian" userId="0d91997e-4063-4ee6-a400-5440b881572d" providerId="ADAL" clId="{31BEF2CD-DBC8-4D67-A0EC-BC2499E5297C}" dt="2025-04-22T16:40:45.615" v="48" actId="20577"/>
          <ac:spMkLst>
            <pc:docMk/>
            <pc:sldMk cId="2387142617" sldId="287"/>
            <ac:spMk id="31" creationId="{442482C6-1EDE-2906-76DE-4E92852F0A33}"/>
          </ac:spMkLst>
        </pc:spChg>
        <pc:spChg chg="mod">
          <ac:chgData name="Faller, Florian" userId="0d91997e-4063-4ee6-a400-5440b881572d" providerId="ADAL" clId="{31BEF2CD-DBC8-4D67-A0EC-BC2499E5297C}" dt="2025-04-22T16:39:19.476" v="33" actId="108"/>
          <ac:spMkLst>
            <pc:docMk/>
            <pc:sldMk cId="2387142617" sldId="287"/>
            <ac:spMk id="33" creationId="{085B5FCB-5A71-4FEA-0A29-A6BB258FEEA5}"/>
          </ac:spMkLst>
        </pc:spChg>
        <pc:spChg chg="mod">
          <ac:chgData name="Faller, Florian" userId="0d91997e-4063-4ee6-a400-5440b881572d" providerId="ADAL" clId="{31BEF2CD-DBC8-4D67-A0EC-BC2499E5297C}" dt="2025-04-22T16:40:48.910" v="51" actId="20577"/>
          <ac:spMkLst>
            <pc:docMk/>
            <pc:sldMk cId="2387142617" sldId="287"/>
            <ac:spMk id="34" creationId="{8CE4F79A-39AE-4218-2ECE-C4CF97FDCD82}"/>
          </ac:spMkLst>
        </pc:spChg>
        <pc:spChg chg="mod">
          <ac:chgData name="Faller, Florian" userId="0d91997e-4063-4ee6-a400-5440b881572d" providerId="ADAL" clId="{31BEF2CD-DBC8-4D67-A0EC-BC2499E5297C}" dt="2025-04-22T16:39:42.512" v="37" actId="108"/>
          <ac:spMkLst>
            <pc:docMk/>
            <pc:sldMk cId="2387142617" sldId="287"/>
            <ac:spMk id="35" creationId="{A8D31612-FBCB-8066-96F3-56791E80D781}"/>
          </ac:spMkLst>
        </pc:spChg>
        <pc:spChg chg="mod">
          <ac:chgData name="Faller, Florian" userId="0d91997e-4063-4ee6-a400-5440b881572d" providerId="ADAL" clId="{31BEF2CD-DBC8-4D67-A0EC-BC2499E5297C}" dt="2025-04-22T16:40:51.329" v="54" actId="20577"/>
          <ac:spMkLst>
            <pc:docMk/>
            <pc:sldMk cId="2387142617" sldId="287"/>
            <ac:spMk id="36" creationId="{91A02BCE-A37B-D7C6-6F85-9F94DFD23EAC}"/>
          </ac:spMkLst>
        </pc:spChg>
        <pc:spChg chg="mod">
          <ac:chgData name="Faller, Florian" userId="0d91997e-4063-4ee6-a400-5440b881572d" providerId="ADAL" clId="{31BEF2CD-DBC8-4D67-A0EC-BC2499E5297C}" dt="2025-04-22T16:39:47.721" v="39" actId="108"/>
          <ac:spMkLst>
            <pc:docMk/>
            <pc:sldMk cId="2387142617" sldId="287"/>
            <ac:spMk id="37" creationId="{6E420D21-1173-BD2A-8728-27F960EEFF33}"/>
          </ac:spMkLst>
        </pc:spChg>
        <pc:picChg chg="mod">
          <ac:chgData name="Faller, Florian" userId="0d91997e-4063-4ee6-a400-5440b881572d" providerId="ADAL" clId="{31BEF2CD-DBC8-4D67-A0EC-BC2499E5297C}" dt="2025-04-22T16:38:43.886" v="29" actId="1076"/>
          <ac:picMkLst>
            <pc:docMk/>
            <pc:sldMk cId="2387142617" sldId="287"/>
            <ac:picMk id="1028" creationId="{3EFC310E-068B-9174-D2E2-170CF2E15392}"/>
          </ac:picMkLst>
        </pc:picChg>
        <pc:picChg chg="mod">
          <ac:chgData name="Faller, Florian" userId="0d91997e-4063-4ee6-a400-5440b881572d" providerId="ADAL" clId="{31BEF2CD-DBC8-4D67-A0EC-BC2499E5297C}" dt="2025-04-22T16:38:57.843" v="31" actId="1076"/>
          <ac:picMkLst>
            <pc:docMk/>
            <pc:sldMk cId="2387142617" sldId="287"/>
            <ac:picMk id="1032" creationId="{9CC274DA-54C3-4A06-DA46-4C7B843E06EA}"/>
          </ac:picMkLst>
        </pc:picChg>
      </pc:sldChg>
    </pc:docChg>
  </pc:docChgLst>
  <pc:docChgLst>
    <pc:chgData name="Guest User" providerId="Windows Live" clId="Web-{16444DE7-8F49-DCC7-1708-DB7B690A311F}"/>
    <pc:docChg chg="addSld delSld modSld sldOrd modSection">
      <pc:chgData name="Guest User" userId="" providerId="Windows Live" clId="Web-{16444DE7-8F49-DCC7-1708-DB7B690A311F}" dt="2025-04-24T09:40:02.899" v="946" actId="1076"/>
      <pc:docMkLst>
        <pc:docMk/>
      </pc:docMkLst>
      <pc:sldChg chg="modSp">
        <pc:chgData name="Guest User" userId="" providerId="Windows Live" clId="Web-{16444DE7-8F49-DCC7-1708-DB7B690A311F}" dt="2025-04-24T09:20:10.676" v="811" actId="20577"/>
        <pc:sldMkLst>
          <pc:docMk/>
          <pc:sldMk cId="613357866" sldId="335"/>
        </pc:sldMkLst>
        <pc:spChg chg="mod">
          <ac:chgData name="Guest User" userId="" providerId="Windows Live" clId="Web-{16444DE7-8F49-DCC7-1708-DB7B690A311F}" dt="2025-04-24T09:10:15.308" v="621" actId="20577"/>
          <ac:spMkLst>
            <pc:docMk/>
            <pc:sldMk cId="613357866" sldId="335"/>
            <ac:spMk id="28" creationId="{D1C2D2BE-5D36-B8A1-BEB1-C08FDF67FA16}"/>
          </ac:spMkLst>
        </pc:spChg>
        <pc:spChg chg="mod">
          <ac:chgData name="Guest User" userId="" providerId="Windows Live" clId="Web-{16444DE7-8F49-DCC7-1708-DB7B690A311F}" dt="2025-04-24T09:15:49.080" v="671" actId="20577"/>
          <ac:spMkLst>
            <pc:docMk/>
            <pc:sldMk cId="613357866" sldId="335"/>
            <ac:spMk id="35" creationId="{BD89DAAA-2033-9536-DD78-FD8EE598CF2F}"/>
          </ac:spMkLst>
        </pc:spChg>
        <pc:spChg chg="mod">
          <ac:chgData name="Guest User" userId="" providerId="Windows Live" clId="Web-{16444DE7-8F49-DCC7-1708-DB7B690A311F}" dt="2025-04-24T09:20:10.676" v="811" actId="20577"/>
          <ac:spMkLst>
            <pc:docMk/>
            <pc:sldMk cId="613357866" sldId="335"/>
            <ac:spMk id="36" creationId="{366A0BE3-083E-77C4-D237-CED4C1D061BE}"/>
          </ac:spMkLst>
        </pc:spChg>
      </pc:sldChg>
      <pc:sldChg chg="del">
        <pc:chgData name="Guest User" userId="" providerId="Windows Live" clId="Web-{16444DE7-8F49-DCC7-1708-DB7B690A311F}" dt="2025-04-24T08:36:23.215" v="1"/>
        <pc:sldMkLst>
          <pc:docMk/>
          <pc:sldMk cId="3441207129" sldId="336"/>
        </pc:sldMkLst>
      </pc:sldChg>
      <pc:sldChg chg="addSp delSp modSp add replId addAnim delAnim">
        <pc:chgData name="Guest User" userId="" providerId="Windows Live" clId="Web-{16444DE7-8F49-DCC7-1708-DB7B690A311F}" dt="2025-04-24T09:08:15.018" v="616" actId="1076"/>
        <pc:sldMkLst>
          <pc:docMk/>
          <pc:sldMk cId="3130959713" sldId="337"/>
        </pc:sldMkLst>
        <pc:spChg chg="mod">
          <ac:chgData name="Guest User" userId="" providerId="Windows Live" clId="Web-{16444DE7-8F49-DCC7-1708-DB7B690A311F}" dt="2025-04-24T08:36:32.950" v="25" actId="20577"/>
          <ac:spMkLst>
            <pc:docMk/>
            <pc:sldMk cId="3130959713" sldId="337"/>
            <ac:spMk id="2" creationId="{E34474BB-8ED6-EB03-08BC-38D66166673C}"/>
          </ac:spMkLst>
        </pc:spChg>
        <pc:spChg chg="mod topLvl">
          <ac:chgData name="Guest User" userId="" providerId="Windows Live" clId="Web-{16444DE7-8F49-DCC7-1708-DB7B690A311F}" dt="2025-04-24T09:07:34.875" v="609" actId="1076"/>
          <ac:spMkLst>
            <pc:docMk/>
            <pc:sldMk cId="3130959713" sldId="337"/>
            <ac:spMk id="4" creationId="{521AB45A-AFE1-7C24-4307-F23385BB8733}"/>
          </ac:spMkLst>
        </pc:spChg>
        <pc:spChg chg="mod">
          <ac:chgData name="Guest User" userId="" providerId="Windows Live" clId="Web-{16444DE7-8F49-DCC7-1708-DB7B690A311F}" dt="2025-04-24T08:39:18.977" v="132" actId="14100"/>
          <ac:spMkLst>
            <pc:docMk/>
            <pc:sldMk cId="3130959713" sldId="337"/>
            <ac:spMk id="9" creationId="{63F865C5-4E7C-FEE7-E559-87526FE7BDFD}"/>
          </ac:spMkLst>
        </pc:spChg>
        <pc:spChg chg="add mod">
          <ac:chgData name="Guest User" userId="" providerId="Windows Live" clId="Web-{16444DE7-8F49-DCC7-1708-DB7B690A311F}" dt="2025-04-24T09:02:22.635" v="537" actId="1076"/>
          <ac:spMkLst>
            <pc:docMk/>
            <pc:sldMk cId="3130959713" sldId="337"/>
            <ac:spMk id="10" creationId="{B37773DD-49A3-998F-B174-49BF71B3DC2C}"/>
          </ac:spMkLst>
        </pc:spChg>
        <pc:spChg chg="add mod">
          <ac:chgData name="Guest User" userId="" providerId="Windows Live" clId="Web-{16444DE7-8F49-DCC7-1708-DB7B690A311F}" dt="2025-04-24T09:06:40.762" v="601" actId="20577"/>
          <ac:spMkLst>
            <pc:docMk/>
            <pc:sldMk cId="3130959713" sldId="337"/>
            <ac:spMk id="14" creationId="{838FF792-62D8-76FE-9228-EB2D8F1B8C4B}"/>
          </ac:spMkLst>
        </pc:spChg>
        <pc:spChg chg="add mod">
          <ac:chgData name="Guest User" userId="" providerId="Windows Live" clId="Web-{16444DE7-8F49-DCC7-1708-DB7B690A311F}" dt="2025-04-24T09:06:42.387" v="602" actId="20577"/>
          <ac:spMkLst>
            <pc:docMk/>
            <pc:sldMk cId="3130959713" sldId="337"/>
            <ac:spMk id="25" creationId="{746A20A2-ED1B-31FB-2EE7-2DFB1DD8B967}"/>
          </ac:spMkLst>
        </pc:spChg>
        <pc:spChg chg="add mod">
          <ac:chgData name="Guest User" userId="" providerId="Windows Live" clId="Web-{16444DE7-8F49-DCC7-1708-DB7B690A311F}" dt="2025-04-24T09:06:43.981" v="603" actId="20577"/>
          <ac:spMkLst>
            <pc:docMk/>
            <pc:sldMk cId="3130959713" sldId="337"/>
            <ac:spMk id="26" creationId="{51092854-CEDB-2D26-5900-3BF656BDA613}"/>
          </ac:spMkLst>
        </pc:spChg>
        <pc:spChg chg="del topLvl">
          <ac:chgData name="Guest User" userId="" providerId="Windows Live" clId="Web-{16444DE7-8F49-DCC7-1708-DB7B690A311F}" dt="2025-04-24T08:37:00.702" v="50"/>
          <ac:spMkLst>
            <pc:docMk/>
            <pc:sldMk cId="3130959713" sldId="337"/>
            <ac:spMk id="28" creationId="{F7E25035-3D82-3357-DE6E-2306DDF8E105}"/>
          </ac:spMkLst>
        </pc:spChg>
        <pc:spChg chg="del mod">
          <ac:chgData name="Guest User" userId="" providerId="Windows Live" clId="Web-{16444DE7-8F49-DCC7-1708-DB7B690A311F}" dt="2025-04-24T08:36:57.421" v="47"/>
          <ac:spMkLst>
            <pc:docMk/>
            <pc:sldMk cId="3130959713" sldId="337"/>
            <ac:spMk id="29" creationId="{498CD425-6F66-8CCE-A224-EE1F81379737}"/>
          </ac:spMkLst>
        </pc:spChg>
        <pc:spChg chg="mod">
          <ac:chgData name="Guest User" userId="" providerId="Windows Live" clId="Web-{16444DE7-8F49-DCC7-1708-DB7B690A311F}" dt="2025-04-24T09:06:38.136" v="600" actId="20577"/>
          <ac:spMkLst>
            <pc:docMk/>
            <pc:sldMk cId="3130959713" sldId="337"/>
            <ac:spMk id="30" creationId="{32C225E0-07E4-32E3-A083-287E8A4CFC32}"/>
          </ac:spMkLst>
        </pc:spChg>
        <pc:spChg chg="mod">
          <ac:chgData name="Guest User" userId="" providerId="Windows Live" clId="Web-{16444DE7-8F49-DCC7-1708-DB7B690A311F}" dt="2025-04-24T09:06:34.496" v="599" actId="20577"/>
          <ac:spMkLst>
            <pc:docMk/>
            <pc:sldMk cId="3130959713" sldId="337"/>
            <ac:spMk id="31" creationId="{C34476AD-6AF8-CD51-7AF8-9756811E7FDB}"/>
          </ac:spMkLst>
        </pc:spChg>
        <pc:spChg chg="mod">
          <ac:chgData name="Guest User" userId="" providerId="Windows Live" clId="Web-{16444DE7-8F49-DCC7-1708-DB7B690A311F}" dt="2025-04-24T08:41:17.298" v="174" actId="20577"/>
          <ac:spMkLst>
            <pc:docMk/>
            <pc:sldMk cId="3130959713" sldId="337"/>
            <ac:spMk id="40" creationId="{949FF52C-8CF9-1860-3DEB-9AFEE52BD8AF}"/>
          </ac:spMkLst>
        </pc:spChg>
        <pc:spChg chg="mod">
          <ac:chgData name="Guest User" userId="" providerId="Windows Live" clId="Web-{16444DE7-8F49-DCC7-1708-DB7B690A311F}" dt="2025-04-24T09:06:50.684" v="607" actId="20577"/>
          <ac:spMkLst>
            <pc:docMk/>
            <pc:sldMk cId="3130959713" sldId="337"/>
            <ac:spMk id="41" creationId="{DC234B45-413D-4E48-0C1A-CBA7285728D3}"/>
          </ac:spMkLst>
        </pc:spChg>
        <pc:spChg chg="mod">
          <ac:chgData name="Guest User" userId="" providerId="Windows Live" clId="Web-{16444DE7-8F49-DCC7-1708-DB7B690A311F}" dt="2025-04-24T09:06:51.747" v="608" actId="20577"/>
          <ac:spMkLst>
            <pc:docMk/>
            <pc:sldMk cId="3130959713" sldId="337"/>
            <ac:spMk id="42" creationId="{2BA8294E-60DE-8B93-BCE3-FD55AB12E939}"/>
          </ac:spMkLst>
        </pc:spChg>
        <pc:spChg chg="mod">
          <ac:chgData name="Guest User" userId="" providerId="Windows Live" clId="Web-{16444DE7-8F49-DCC7-1708-DB7B690A311F}" dt="2025-04-24T08:42:03.567" v="190" actId="1076"/>
          <ac:spMkLst>
            <pc:docMk/>
            <pc:sldMk cId="3130959713" sldId="337"/>
            <ac:spMk id="45" creationId="{C1E6AE08-AEDE-18D7-2070-83EFA0008B63}"/>
          </ac:spMkLst>
        </pc:spChg>
        <pc:spChg chg="mod">
          <ac:chgData name="Guest User" userId="" providerId="Windows Live" clId="Web-{16444DE7-8F49-DCC7-1708-DB7B690A311F}" dt="2025-04-24T08:44:48.875" v="253" actId="14100"/>
          <ac:spMkLst>
            <pc:docMk/>
            <pc:sldMk cId="3130959713" sldId="337"/>
            <ac:spMk id="50" creationId="{8673C22C-4FF7-58F5-30EB-9775A31F69AA}"/>
          </ac:spMkLst>
        </pc:spChg>
        <pc:spChg chg="mod">
          <ac:chgData name="Guest User" userId="" providerId="Windows Live" clId="Web-{16444DE7-8F49-DCC7-1708-DB7B690A311F}" dt="2025-04-24T09:06:46.324" v="604" actId="20577"/>
          <ac:spMkLst>
            <pc:docMk/>
            <pc:sldMk cId="3130959713" sldId="337"/>
            <ac:spMk id="51" creationId="{C80B0682-4B19-1AE7-BBE0-0BE2C76C3200}"/>
          </ac:spMkLst>
        </pc:spChg>
        <pc:spChg chg="mod">
          <ac:chgData name="Guest User" userId="" providerId="Windows Live" clId="Web-{16444DE7-8F49-DCC7-1708-DB7B690A311F}" dt="2025-04-24T09:06:49.293" v="606" actId="20577"/>
          <ac:spMkLst>
            <pc:docMk/>
            <pc:sldMk cId="3130959713" sldId="337"/>
            <ac:spMk id="52" creationId="{406A6ECD-0932-DFDB-630F-040AEDF95537}"/>
          </ac:spMkLst>
        </pc:spChg>
        <pc:spChg chg="add del">
          <ac:chgData name="Guest User" userId="" providerId="Windows Live" clId="Web-{16444DE7-8F49-DCC7-1708-DB7B690A311F}" dt="2025-04-24T08:43:54.574" v="237"/>
          <ac:spMkLst>
            <pc:docMk/>
            <pc:sldMk cId="3130959713" sldId="337"/>
            <ac:spMk id="55" creationId="{E66563FE-E13E-DCFD-693A-07C8C8938359}"/>
          </ac:spMkLst>
        </pc:spChg>
        <pc:spChg chg="add mod">
          <ac:chgData name="Guest User" userId="" providerId="Windows Live" clId="Web-{16444DE7-8F49-DCC7-1708-DB7B690A311F}" dt="2025-04-24T09:06:48.184" v="605" actId="20577"/>
          <ac:spMkLst>
            <pc:docMk/>
            <pc:sldMk cId="3130959713" sldId="337"/>
            <ac:spMk id="77" creationId="{AD82955F-0209-3EE2-5245-C64576CE7624}"/>
          </ac:spMkLst>
        </pc:spChg>
        <pc:spChg chg="add mod">
          <ac:chgData name="Guest User" userId="" providerId="Windows Live" clId="Web-{16444DE7-8F49-DCC7-1708-DB7B690A311F}" dt="2025-04-24T09:06:16.604" v="598" actId="20577"/>
          <ac:spMkLst>
            <pc:docMk/>
            <pc:sldMk cId="3130959713" sldId="337"/>
            <ac:spMk id="80" creationId="{4EDB9052-CC3C-16C8-CB0A-3220DB518EC3}"/>
          </ac:spMkLst>
        </pc:spChg>
        <pc:spChg chg="add mod">
          <ac:chgData name="Guest User" userId="" providerId="Windows Live" clId="Web-{16444DE7-8F49-DCC7-1708-DB7B690A311F}" dt="2025-04-24T09:06:09.259" v="596" actId="20577"/>
          <ac:spMkLst>
            <pc:docMk/>
            <pc:sldMk cId="3130959713" sldId="337"/>
            <ac:spMk id="82" creationId="{4AF6B0EA-5E9C-3DE6-F924-A6C2AA025D13}"/>
          </ac:spMkLst>
        </pc:spChg>
        <pc:spChg chg="add mod">
          <ac:chgData name="Guest User" userId="" providerId="Windows Live" clId="Web-{16444DE7-8F49-DCC7-1708-DB7B690A311F}" dt="2025-04-24T08:57:11.613" v="479" actId="20577"/>
          <ac:spMkLst>
            <pc:docMk/>
            <pc:sldMk cId="3130959713" sldId="337"/>
            <ac:spMk id="86" creationId="{53F3F9B0-EA3D-E925-B86C-961C65AAA06B}"/>
          </ac:spMkLst>
        </pc:spChg>
        <pc:spChg chg="add mod">
          <ac:chgData name="Guest User" userId="" providerId="Windows Live" clId="Web-{16444DE7-8F49-DCC7-1708-DB7B690A311F}" dt="2025-04-24T08:57:15.567" v="480" actId="1076"/>
          <ac:spMkLst>
            <pc:docMk/>
            <pc:sldMk cId="3130959713" sldId="337"/>
            <ac:spMk id="87" creationId="{035E753F-8B12-8A44-1DCE-F402CF6530E8}"/>
          </ac:spMkLst>
        </pc:spChg>
        <pc:spChg chg="add mod">
          <ac:chgData name="Guest User" userId="" providerId="Windows Live" clId="Web-{16444DE7-8F49-DCC7-1708-DB7B690A311F}" dt="2025-04-24T09:04:28.643" v="571" actId="1076"/>
          <ac:spMkLst>
            <pc:docMk/>
            <pc:sldMk cId="3130959713" sldId="337"/>
            <ac:spMk id="89" creationId="{B43564B2-C5DB-744C-8A92-DB88715619A5}"/>
          </ac:spMkLst>
        </pc:spChg>
        <pc:spChg chg="add mod">
          <ac:chgData name="Guest User" userId="" providerId="Windows Live" clId="Web-{16444DE7-8F49-DCC7-1708-DB7B690A311F}" dt="2025-04-24T09:04:58.020" v="587" actId="1076"/>
          <ac:spMkLst>
            <pc:docMk/>
            <pc:sldMk cId="3130959713" sldId="337"/>
            <ac:spMk id="90" creationId="{09BF8E05-B90A-63CD-69FE-C099E8643F80}"/>
          </ac:spMkLst>
        </pc:spChg>
        <pc:grpChg chg="del">
          <ac:chgData name="Guest User" userId="" providerId="Windows Live" clId="Web-{16444DE7-8F49-DCC7-1708-DB7B690A311F}" dt="2025-04-24T08:38:21.551" v="109"/>
          <ac:grpSpMkLst>
            <pc:docMk/>
            <pc:sldMk cId="3130959713" sldId="337"/>
            <ac:grpSpMk id="27" creationId="{0AD91C61-47B8-9F68-02A9-FF38A7A29456}"/>
          </ac:grpSpMkLst>
        </pc:grpChg>
        <pc:grpChg chg="add del">
          <ac:chgData name="Guest User" userId="" providerId="Windows Live" clId="Web-{16444DE7-8F49-DCC7-1708-DB7B690A311F}" dt="2025-04-24T08:37:00.702" v="50"/>
          <ac:grpSpMkLst>
            <pc:docMk/>
            <pc:sldMk cId="3130959713" sldId="337"/>
            <ac:grpSpMk id="37" creationId="{3FAFD115-573D-5D37-603B-F55E993842D3}"/>
          </ac:grpSpMkLst>
        </pc:grpChg>
        <pc:grpChg chg="add del mod">
          <ac:chgData name="Guest User" userId="" providerId="Windows Live" clId="Web-{16444DE7-8F49-DCC7-1708-DB7B690A311F}" dt="2025-04-24T09:02:29.588" v="542" actId="1076"/>
          <ac:grpSpMkLst>
            <pc:docMk/>
            <pc:sldMk cId="3130959713" sldId="337"/>
            <ac:grpSpMk id="38" creationId="{8E3ABB13-CDDE-55C5-A2BE-88EEC7FFAEBD}"/>
          </ac:grpSpMkLst>
        </pc:grpChg>
        <pc:grpChg chg="del">
          <ac:chgData name="Guest User" userId="" providerId="Windows Live" clId="Web-{16444DE7-8F49-DCC7-1708-DB7B690A311F}" dt="2025-04-24T08:38:30.130" v="112"/>
          <ac:grpSpMkLst>
            <pc:docMk/>
            <pc:sldMk cId="3130959713" sldId="337"/>
            <ac:grpSpMk id="39" creationId="{3770BE55-15AD-FBFD-D177-D07432DC458D}"/>
          </ac:grpSpMkLst>
        </pc:grpChg>
        <pc:grpChg chg="add mod">
          <ac:chgData name="Guest User" userId="" providerId="Windows Live" clId="Web-{16444DE7-8F49-DCC7-1708-DB7B690A311F}" dt="2025-04-24T09:03:20.420" v="549" actId="1076"/>
          <ac:grpSpMkLst>
            <pc:docMk/>
            <pc:sldMk cId="3130959713" sldId="337"/>
            <ac:grpSpMk id="43" creationId="{B70F7B2E-1518-9735-12E0-5EA014FC48E4}"/>
          </ac:grpSpMkLst>
        </pc:grpChg>
        <pc:grpChg chg="add del">
          <ac:chgData name="Guest User" userId="" providerId="Windows Live" clId="Web-{16444DE7-8F49-DCC7-1708-DB7B690A311F}" dt="2025-04-24T08:42:05.223" v="191"/>
          <ac:grpSpMkLst>
            <pc:docMk/>
            <pc:sldMk cId="3130959713" sldId="337"/>
            <ac:grpSpMk id="48" creationId="{7F3554F6-E69B-E7E8-52B6-6D828457FB2B}"/>
          </ac:grpSpMkLst>
        </pc:grpChg>
        <pc:grpChg chg="add mod">
          <ac:chgData name="Guest User" userId="" providerId="Windows Live" clId="Web-{16444DE7-8F49-DCC7-1708-DB7B690A311F}" dt="2025-04-24T09:05:40.445" v="593" actId="1076"/>
          <ac:grpSpMkLst>
            <pc:docMk/>
            <pc:sldMk cId="3130959713" sldId="337"/>
            <ac:grpSpMk id="53" creationId="{F05307A8-6D69-8DEB-86F3-337375EB4CD6}"/>
          </ac:grpSpMkLst>
        </pc:grpChg>
        <pc:grpChg chg="add del">
          <ac:chgData name="Guest User" userId="" providerId="Windows Live" clId="Web-{16444DE7-8F49-DCC7-1708-DB7B690A311F}" dt="2025-04-24T08:44:10.794" v="243"/>
          <ac:grpSpMkLst>
            <pc:docMk/>
            <pc:sldMk cId="3130959713" sldId="337"/>
            <ac:grpSpMk id="60" creationId="{8669CAD5-74B9-17EE-6469-8273616CA9C5}"/>
          </ac:grpSpMkLst>
        </pc:grpChg>
        <pc:grpChg chg="add del">
          <ac:chgData name="Guest User" userId="" providerId="Windows Live" clId="Web-{16444DE7-8F49-DCC7-1708-DB7B690A311F}" dt="2025-04-24T08:44:17.560" v="245"/>
          <ac:grpSpMkLst>
            <pc:docMk/>
            <pc:sldMk cId="3130959713" sldId="337"/>
            <ac:grpSpMk id="65" creationId="{CDCB33FE-E373-889F-8572-B3D635B4BCD7}"/>
          </ac:grpSpMkLst>
        </pc:grpChg>
        <pc:grpChg chg="add del">
          <ac:chgData name="Guest User" userId="" providerId="Windows Live" clId="Web-{16444DE7-8F49-DCC7-1708-DB7B690A311F}" dt="2025-04-24T08:44:23.201" v="248"/>
          <ac:grpSpMkLst>
            <pc:docMk/>
            <pc:sldMk cId="3130959713" sldId="337"/>
            <ac:grpSpMk id="70" creationId="{36B86022-D63B-916E-99E8-71E09555990F}"/>
          </ac:grpSpMkLst>
        </pc:grpChg>
        <pc:grpChg chg="add del">
          <ac:chgData name="Guest User" userId="" providerId="Windows Live" clId="Web-{16444DE7-8F49-DCC7-1708-DB7B690A311F}" dt="2025-04-24T08:44:55.422" v="255"/>
          <ac:grpSpMkLst>
            <pc:docMk/>
            <pc:sldMk cId="3130959713" sldId="337"/>
            <ac:grpSpMk id="75" creationId="{8019BAAA-ED5F-2DDF-28CC-3C880CCEA35F}"/>
          </ac:grpSpMkLst>
        </pc:grpChg>
        <pc:cxnChg chg="del">
          <ac:chgData name="Guest User" userId="" providerId="Windows Live" clId="Web-{16444DE7-8F49-DCC7-1708-DB7B690A311F}" dt="2025-04-24T08:38:13.207" v="105"/>
          <ac:cxnSpMkLst>
            <pc:docMk/>
            <pc:sldMk cId="3130959713" sldId="337"/>
            <ac:cxnSpMk id="15" creationId="{B7A489B7-EF92-15A4-53DB-705E966789B3}"/>
          </ac:cxnSpMkLst>
        </pc:cxnChg>
        <pc:cxnChg chg="del">
          <ac:chgData name="Guest User" userId="" providerId="Windows Live" clId="Web-{16444DE7-8F49-DCC7-1708-DB7B690A311F}" dt="2025-04-24T08:38:15.754" v="106"/>
          <ac:cxnSpMkLst>
            <pc:docMk/>
            <pc:sldMk cId="3130959713" sldId="337"/>
            <ac:cxnSpMk id="16" creationId="{8991FE83-F48E-D640-959D-904F19E56B46}"/>
          </ac:cxnSpMkLst>
        </pc:cxnChg>
        <pc:cxnChg chg="del">
          <ac:chgData name="Guest User" userId="" providerId="Windows Live" clId="Web-{16444DE7-8F49-DCC7-1708-DB7B690A311F}" dt="2025-04-24T08:38:11.879" v="104"/>
          <ac:cxnSpMkLst>
            <pc:docMk/>
            <pc:sldMk cId="3130959713" sldId="337"/>
            <ac:cxnSpMk id="17" creationId="{DA0C2D88-86A2-8218-C81A-312E5894C5BB}"/>
          </ac:cxnSpMkLst>
        </pc:cxnChg>
        <pc:cxnChg chg="del">
          <ac:chgData name="Guest User" userId="" providerId="Windows Live" clId="Web-{16444DE7-8F49-DCC7-1708-DB7B690A311F}" dt="2025-04-24T08:38:10.519" v="103"/>
          <ac:cxnSpMkLst>
            <pc:docMk/>
            <pc:sldMk cId="3130959713" sldId="337"/>
            <ac:cxnSpMk id="18" creationId="{3B664F08-BE48-7213-7F24-4F5CBA875640}"/>
          </ac:cxnSpMkLst>
        </pc:cxnChg>
        <pc:cxnChg chg="del">
          <ac:chgData name="Guest User" userId="" providerId="Windows Live" clId="Web-{16444DE7-8F49-DCC7-1708-DB7B690A311F}" dt="2025-04-24T08:38:00.284" v="99"/>
          <ac:cxnSpMkLst>
            <pc:docMk/>
            <pc:sldMk cId="3130959713" sldId="337"/>
            <ac:cxnSpMk id="19" creationId="{75E33880-BD7E-2ED5-6EC4-6E41EA154139}"/>
          </ac:cxnSpMkLst>
        </pc:cxnChg>
        <pc:cxnChg chg="del">
          <ac:chgData name="Guest User" userId="" providerId="Windows Live" clId="Web-{16444DE7-8F49-DCC7-1708-DB7B690A311F}" dt="2025-04-24T08:38:18.395" v="107"/>
          <ac:cxnSpMkLst>
            <pc:docMk/>
            <pc:sldMk cId="3130959713" sldId="337"/>
            <ac:cxnSpMk id="20" creationId="{1F62482F-6D92-42F7-BC45-998DD85B4C32}"/>
          </ac:cxnSpMkLst>
        </pc:cxnChg>
        <pc:cxnChg chg="del">
          <ac:chgData name="Guest User" userId="" providerId="Windows Live" clId="Web-{16444DE7-8F49-DCC7-1708-DB7B690A311F}" dt="2025-04-24T08:38:23.208" v="110"/>
          <ac:cxnSpMkLst>
            <pc:docMk/>
            <pc:sldMk cId="3130959713" sldId="337"/>
            <ac:cxnSpMk id="21" creationId="{CD02DCAD-4DCA-048F-6273-84A52E3B6D56}"/>
          </ac:cxnSpMkLst>
        </pc:cxnChg>
        <pc:cxnChg chg="del">
          <ac:chgData name="Guest User" userId="" providerId="Windows Live" clId="Web-{16444DE7-8F49-DCC7-1708-DB7B690A311F}" dt="2025-04-24T08:38:04.316" v="100"/>
          <ac:cxnSpMkLst>
            <pc:docMk/>
            <pc:sldMk cId="3130959713" sldId="337"/>
            <ac:cxnSpMk id="22" creationId="{DD4D4DA0-AD53-885D-A91D-907BA66CC483}"/>
          </ac:cxnSpMkLst>
        </pc:cxnChg>
        <pc:cxnChg chg="del">
          <ac:chgData name="Guest User" userId="" providerId="Windows Live" clId="Web-{16444DE7-8F49-DCC7-1708-DB7B690A311F}" dt="2025-04-24T08:38:19.082" v="108"/>
          <ac:cxnSpMkLst>
            <pc:docMk/>
            <pc:sldMk cId="3130959713" sldId="337"/>
            <ac:cxnSpMk id="23" creationId="{A9ADB44F-38EB-8A2B-639B-B64E6A923E8D}"/>
          </ac:cxnSpMkLst>
        </pc:cxnChg>
        <pc:cxnChg chg="del">
          <ac:chgData name="Guest User" userId="" providerId="Windows Live" clId="Web-{16444DE7-8F49-DCC7-1708-DB7B690A311F}" dt="2025-04-24T08:38:21.551" v="109"/>
          <ac:cxnSpMkLst>
            <pc:docMk/>
            <pc:sldMk cId="3130959713" sldId="337"/>
            <ac:cxnSpMk id="24" creationId="{ABC7FF3D-9028-3193-1DCC-CEB4BF63CA78}"/>
          </ac:cxnSpMkLst>
        </pc:cxnChg>
        <pc:cxnChg chg="add del mod">
          <ac:chgData name="Guest User" userId="" providerId="Windows Live" clId="Web-{16444DE7-8F49-DCC7-1708-DB7B690A311F}" dt="2025-04-24T08:49:24.894" v="340"/>
          <ac:cxnSpMkLst>
            <pc:docMk/>
            <pc:sldMk cId="3130959713" sldId="337"/>
            <ac:cxnSpMk id="33" creationId="{F1BFCB73-BACE-5979-CA5E-D4255B7C2FBC}"/>
          </ac:cxnSpMkLst>
        </pc:cxnChg>
        <pc:cxnChg chg="add del mod">
          <ac:chgData name="Guest User" userId="" providerId="Windows Live" clId="Web-{16444DE7-8F49-DCC7-1708-DB7B690A311F}" dt="2025-04-24T08:49:46.942" v="345"/>
          <ac:cxnSpMkLst>
            <pc:docMk/>
            <pc:sldMk cId="3130959713" sldId="337"/>
            <ac:cxnSpMk id="78" creationId="{D445B945-445A-BD0B-8DC0-E6D55C5BA2A6}"/>
          </ac:cxnSpMkLst>
        </pc:cxnChg>
        <pc:cxnChg chg="add mod">
          <ac:chgData name="Guest User" userId="" providerId="Windows Live" clId="Web-{16444DE7-8F49-DCC7-1708-DB7B690A311F}" dt="2025-04-24T09:02:50.761" v="544" actId="14100"/>
          <ac:cxnSpMkLst>
            <pc:docMk/>
            <pc:sldMk cId="3130959713" sldId="337"/>
            <ac:cxnSpMk id="79" creationId="{A49E40B3-8DB1-19FC-1A5C-5017BC1F0544}"/>
          </ac:cxnSpMkLst>
        </pc:cxnChg>
        <pc:cxnChg chg="add mod">
          <ac:chgData name="Guest User" userId="" providerId="Windows Live" clId="Web-{16444DE7-8F49-DCC7-1708-DB7B690A311F}" dt="2025-04-24T09:03:05.091" v="547" actId="14100"/>
          <ac:cxnSpMkLst>
            <pc:docMk/>
            <pc:sldMk cId="3130959713" sldId="337"/>
            <ac:cxnSpMk id="81" creationId="{D212887E-A8F2-DA45-BAD1-8937C3DC3DA1}"/>
          </ac:cxnSpMkLst>
        </pc:cxnChg>
        <pc:cxnChg chg="add mod">
          <ac:chgData name="Guest User" userId="" providerId="Windows Live" clId="Web-{16444DE7-8F49-DCC7-1708-DB7B690A311F}" dt="2025-04-24T08:54:30.274" v="434" actId="14100"/>
          <ac:cxnSpMkLst>
            <pc:docMk/>
            <pc:sldMk cId="3130959713" sldId="337"/>
            <ac:cxnSpMk id="83" creationId="{4B2CA474-A073-1D37-C153-B2E6CEA8C6CC}"/>
          </ac:cxnSpMkLst>
        </pc:cxnChg>
        <pc:cxnChg chg="add mod">
          <ac:chgData name="Guest User" userId="" providerId="Windows Live" clId="Web-{16444DE7-8F49-DCC7-1708-DB7B690A311F}" dt="2025-04-24T08:56:49.737" v="475" actId="14100"/>
          <ac:cxnSpMkLst>
            <pc:docMk/>
            <pc:sldMk cId="3130959713" sldId="337"/>
            <ac:cxnSpMk id="84" creationId="{5EDE9878-C2D0-18B0-84C1-5C4F57DD76EF}"/>
          </ac:cxnSpMkLst>
        </pc:cxnChg>
        <pc:cxnChg chg="add del mod">
          <ac:chgData name="Guest User" userId="" providerId="Windows Live" clId="Web-{16444DE7-8F49-DCC7-1708-DB7B690A311F}" dt="2025-04-24T08:55:22.684" v="442"/>
          <ac:cxnSpMkLst>
            <pc:docMk/>
            <pc:sldMk cId="3130959713" sldId="337"/>
            <ac:cxnSpMk id="85" creationId="{EA0E3267-6E2D-61A5-8925-2C0ADB4E49C3}"/>
          </ac:cxnSpMkLst>
        </pc:cxnChg>
        <pc:cxnChg chg="add mod">
          <ac:chgData name="Guest User" userId="" providerId="Windows Live" clId="Web-{16444DE7-8F49-DCC7-1708-DB7B690A311F}" dt="2025-04-24T09:01:58.211" v="535"/>
          <ac:cxnSpMkLst>
            <pc:docMk/>
            <pc:sldMk cId="3130959713" sldId="337"/>
            <ac:cxnSpMk id="88" creationId="{59394CE9-6931-0C10-FFF6-41D2B1A49127}"/>
          </ac:cxnSpMkLst>
        </pc:cxnChg>
        <pc:cxnChg chg="add mod">
          <ac:chgData name="Guest User" userId="" providerId="Windows Live" clId="Web-{16444DE7-8F49-DCC7-1708-DB7B690A311F}" dt="2025-04-24T09:08:05.033" v="614"/>
          <ac:cxnSpMkLst>
            <pc:docMk/>
            <pc:sldMk cId="3130959713" sldId="337"/>
            <ac:cxnSpMk id="91" creationId="{6185456C-22FB-E770-773C-D86CCDFECF9E}"/>
          </ac:cxnSpMkLst>
        </pc:cxnChg>
        <pc:cxnChg chg="add mod">
          <ac:chgData name="Guest User" userId="" providerId="Windows Live" clId="Web-{16444DE7-8F49-DCC7-1708-DB7B690A311F}" dt="2025-04-24T09:08:15.018" v="616" actId="1076"/>
          <ac:cxnSpMkLst>
            <pc:docMk/>
            <pc:sldMk cId="3130959713" sldId="337"/>
            <ac:cxnSpMk id="92" creationId="{8D4CFF41-E6F0-3042-7283-9D9ACCEC54CB}"/>
          </ac:cxnSpMkLst>
        </pc:cxnChg>
      </pc:sldChg>
      <pc:sldChg chg="addSp delSp modSp">
        <pc:chgData name="Guest User" userId="" providerId="Windows Live" clId="Web-{16444DE7-8F49-DCC7-1708-DB7B690A311F}" dt="2025-04-24T09:36:02.679" v="931" actId="20577"/>
        <pc:sldMkLst>
          <pc:docMk/>
          <pc:sldMk cId="2633811666" sldId="342"/>
        </pc:sldMkLst>
        <pc:spChg chg="del">
          <ac:chgData name="Guest User" userId="" providerId="Windows Live" clId="Web-{16444DE7-8F49-DCC7-1708-DB7B690A311F}" dt="2025-04-24T09:27:25.613" v="812"/>
          <ac:spMkLst>
            <pc:docMk/>
            <pc:sldMk cId="2633811666" sldId="342"/>
            <ac:spMk id="5" creationId="{EF0C42C9-F73A-6410-ED21-BDDDE12CDB14}"/>
          </ac:spMkLst>
        </pc:spChg>
        <pc:spChg chg="mod">
          <ac:chgData name="Guest User" userId="" providerId="Windows Live" clId="Web-{16444DE7-8F49-DCC7-1708-DB7B690A311F}" dt="2025-04-24T09:36:02.679" v="931" actId="20577"/>
          <ac:spMkLst>
            <pc:docMk/>
            <pc:sldMk cId="2633811666" sldId="342"/>
            <ac:spMk id="6" creationId="{9BF45AE6-2602-CF6C-0849-7423B32E6278}"/>
          </ac:spMkLst>
        </pc:spChg>
        <pc:spChg chg="add del mod">
          <ac:chgData name="Guest User" userId="" providerId="Windows Live" clId="Web-{16444DE7-8F49-DCC7-1708-DB7B690A311F}" dt="2025-04-24T09:35:42.740" v="906"/>
          <ac:spMkLst>
            <pc:docMk/>
            <pc:sldMk cId="2633811666" sldId="342"/>
            <ac:spMk id="9" creationId="{27143EAD-B1EE-D013-7ECB-097ECD50F48C}"/>
          </ac:spMkLst>
        </pc:spChg>
        <pc:spChg chg="add del mod">
          <ac:chgData name="Guest User" userId="" providerId="Windows Live" clId="Web-{16444DE7-8F49-DCC7-1708-DB7B690A311F}" dt="2025-04-24T09:35:42.740" v="905"/>
          <ac:spMkLst>
            <pc:docMk/>
            <pc:sldMk cId="2633811666" sldId="342"/>
            <ac:spMk id="10" creationId="{99227871-1A94-1BCA-464F-954A52B04E55}"/>
          </ac:spMkLst>
        </pc:spChg>
        <pc:spChg chg="add del mod">
          <ac:chgData name="Guest User" userId="" providerId="Windows Live" clId="Web-{16444DE7-8F49-DCC7-1708-DB7B690A311F}" dt="2025-04-24T09:35:42.740" v="904"/>
          <ac:spMkLst>
            <pc:docMk/>
            <pc:sldMk cId="2633811666" sldId="342"/>
            <ac:spMk id="11" creationId="{C10F4F8D-2302-E6F5-BC55-C3FA6A7BB6B0}"/>
          </ac:spMkLst>
        </pc:spChg>
        <pc:picChg chg="add mod">
          <ac:chgData name="Guest User" userId="" providerId="Windows Live" clId="Web-{16444DE7-8F49-DCC7-1708-DB7B690A311F}" dt="2025-04-24T09:35:50.319" v="908" actId="14100"/>
          <ac:picMkLst>
            <pc:docMk/>
            <pc:sldMk cId="2633811666" sldId="342"/>
            <ac:picMk id="12" creationId="{310DF1D4-EA8C-597C-A910-90F0AE391AE3}"/>
          </ac:picMkLst>
        </pc:picChg>
        <pc:picChg chg="add del mod">
          <ac:chgData name="Guest User" userId="" providerId="Windows Live" clId="Web-{16444DE7-8F49-DCC7-1708-DB7B690A311F}" dt="2025-04-24T09:35:38.693" v="902"/>
          <ac:picMkLst>
            <pc:docMk/>
            <pc:sldMk cId="2633811666" sldId="342"/>
            <ac:picMk id="13" creationId="{4CB68BDB-7AD9-4B24-86EB-EEFAB8DF9E12}"/>
          </ac:picMkLst>
        </pc:picChg>
      </pc:sldChg>
      <pc:sldChg chg="delSp modSp add ord replId">
        <pc:chgData name="Guest User" userId="" providerId="Windows Live" clId="Web-{16444DE7-8F49-DCC7-1708-DB7B690A311F}" dt="2025-04-24T09:35:34.912" v="901" actId="20577"/>
        <pc:sldMkLst>
          <pc:docMk/>
          <pc:sldMk cId="4039450409" sldId="343"/>
        </pc:sldMkLst>
        <pc:spChg chg="mod">
          <ac:chgData name="Guest User" userId="" providerId="Windows Live" clId="Web-{16444DE7-8F49-DCC7-1708-DB7B690A311F}" dt="2025-04-24T09:35:34.912" v="901" actId="20577"/>
          <ac:spMkLst>
            <pc:docMk/>
            <pc:sldMk cId="4039450409" sldId="343"/>
            <ac:spMk id="6" creationId="{BCCAFD44-EC8D-2C1A-82DA-99FCEF13046E}"/>
          </ac:spMkLst>
        </pc:spChg>
        <pc:spChg chg="del mod">
          <ac:chgData name="Guest User" userId="" providerId="Windows Live" clId="Web-{16444DE7-8F49-DCC7-1708-DB7B690A311F}" dt="2025-04-24T09:35:09.488" v="872"/>
          <ac:spMkLst>
            <pc:docMk/>
            <pc:sldMk cId="4039450409" sldId="343"/>
            <ac:spMk id="9" creationId="{46E00E22-09B3-AB9F-B737-A6D0FC6B49F6}"/>
          </ac:spMkLst>
        </pc:spChg>
        <pc:spChg chg="del">
          <ac:chgData name="Guest User" userId="" providerId="Windows Live" clId="Web-{16444DE7-8F49-DCC7-1708-DB7B690A311F}" dt="2025-04-24T09:35:09.488" v="871"/>
          <ac:spMkLst>
            <pc:docMk/>
            <pc:sldMk cId="4039450409" sldId="343"/>
            <ac:spMk id="10" creationId="{07CD0637-2D45-3338-2840-267A32634C95}"/>
          </ac:spMkLst>
        </pc:spChg>
        <pc:spChg chg="del">
          <ac:chgData name="Guest User" userId="" providerId="Windows Live" clId="Web-{16444DE7-8F49-DCC7-1708-DB7B690A311F}" dt="2025-04-24T09:35:09.488" v="870"/>
          <ac:spMkLst>
            <pc:docMk/>
            <pc:sldMk cId="4039450409" sldId="343"/>
            <ac:spMk id="11" creationId="{77B495A8-5C31-036B-5F80-D9EAC3C4C0DD}"/>
          </ac:spMkLst>
        </pc:spChg>
        <pc:picChg chg="del">
          <ac:chgData name="Guest User" userId="" providerId="Windows Live" clId="Web-{16444DE7-8F49-DCC7-1708-DB7B690A311F}" dt="2025-04-24T09:34:52.362" v="859"/>
          <ac:picMkLst>
            <pc:docMk/>
            <pc:sldMk cId="4039450409" sldId="343"/>
            <ac:picMk id="12" creationId="{77CCFFAD-8564-8CFB-04D3-5335ECA6A07F}"/>
          </ac:picMkLst>
        </pc:picChg>
        <pc:picChg chg="mod">
          <ac:chgData name="Guest User" userId="" providerId="Windows Live" clId="Web-{16444DE7-8F49-DCC7-1708-DB7B690A311F}" dt="2025-04-24T09:35:14.129" v="873" actId="1076"/>
          <ac:picMkLst>
            <pc:docMk/>
            <pc:sldMk cId="4039450409" sldId="343"/>
            <ac:picMk id="13" creationId="{70363341-C4D4-8434-551E-8A79E028C757}"/>
          </ac:picMkLst>
        </pc:picChg>
      </pc:sldChg>
      <pc:sldChg chg="addSp delSp modSp add replId">
        <pc:chgData name="Guest User" userId="" providerId="Windows Live" clId="Web-{16444DE7-8F49-DCC7-1708-DB7B690A311F}" dt="2025-04-24T09:40:02.899" v="946" actId="1076"/>
        <pc:sldMkLst>
          <pc:docMk/>
          <pc:sldMk cId="4100706638" sldId="345"/>
        </pc:sldMkLst>
        <pc:spChg chg="mod">
          <ac:chgData name="Guest User" userId="" providerId="Windows Live" clId="Web-{16444DE7-8F49-DCC7-1708-DB7B690A311F}" dt="2025-04-24T09:36:44.792" v="940" actId="20577"/>
          <ac:spMkLst>
            <pc:docMk/>
            <pc:sldMk cId="4100706638" sldId="345"/>
            <ac:spMk id="6" creationId="{8473BF0D-1E55-87BB-B497-AA72ED49A936}"/>
          </ac:spMkLst>
        </pc:spChg>
        <pc:picChg chg="add mod">
          <ac:chgData name="Guest User" userId="" providerId="Windows Live" clId="Web-{16444DE7-8F49-DCC7-1708-DB7B690A311F}" dt="2025-04-24T09:40:02.899" v="946" actId="1076"/>
          <ac:picMkLst>
            <pc:docMk/>
            <pc:sldMk cId="4100706638" sldId="345"/>
            <ac:picMk id="5" creationId="{A59EB101-E100-F2CD-2EBA-439BEFA8DA4E}"/>
          </ac:picMkLst>
        </pc:picChg>
        <pc:picChg chg="del">
          <ac:chgData name="Guest User" userId="" providerId="Windows Live" clId="Web-{16444DE7-8F49-DCC7-1708-DB7B690A311F}" dt="2025-04-24T09:39:47.242" v="942"/>
          <ac:picMkLst>
            <pc:docMk/>
            <pc:sldMk cId="4100706638" sldId="345"/>
            <ac:picMk id="13" creationId="{831B6CC1-13C7-F36B-3875-45E9900B1864}"/>
          </ac:picMkLst>
        </pc:picChg>
      </pc:sldChg>
    </pc:docChg>
  </pc:docChgLst>
  <pc:docChgLst>
    <pc:chgData name="Gastbenutzer" providerId="Windows Live" clId="Web-{848A9A37-B677-7868-1AD9-FF76479E0136}"/>
    <pc:docChg chg="addSld delSld modSld modSection">
      <pc:chgData name="Gastbenutzer" userId="" providerId="Windows Live" clId="Web-{848A9A37-B677-7868-1AD9-FF76479E0136}" dt="2025-04-23T13:52:44.373" v="614" actId="1076"/>
      <pc:docMkLst>
        <pc:docMk/>
      </pc:docMkLst>
      <pc:sldChg chg="modSp">
        <pc:chgData name="Gastbenutzer" userId="" providerId="Windows Live" clId="Web-{848A9A37-B677-7868-1AD9-FF76479E0136}" dt="2025-04-23T10:38:34.933" v="555" actId="20577"/>
        <pc:sldMkLst>
          <pc:docMk/>
          <pc:sldMk cId="2387142617" sldId="287"/>
        </pc:sldMkLst>
        <pc:spChg chg="mod">
          <ac:chgData name="Gastbenutzer" userId="" providerId="Windows Live" clId="Web-{848A9A37-B677-7868-1AD9-FF76479E0136}" dt="2025-04-23T10:38:34.933" v="555" actId="20577"/>
          <ac:spMkLst>
            <pc:docMk/>
            <pc:sldMk cId="2387142617" sldId="287"/>
            <ac:spMk id="31" creationId="{442482C6-1EDE-2906-76DE-4E92852F0A33}"/>
          </ac:spMkLst>
        </pc:spChg>
      </pc:sldChg>
      <pc:sldChg chg="addSp delSp modSp">
        <pc:chgData name="Gastbenutzer" userId="" providerId="Windows Live" clId="Web-{848A9A37-B677-7868-1AD9-FF76479E0136}" dt="2025-04-23T10:26:40.118" v="553" actId="20577"/>
        <pc:sldMkLst>
          <pc:docMk/>
          <pc:sldMk cId="1494227697" sldId="293"/>
        </pc:sldMkLst>
        <pc:spChg chg="add del">
          <ac:chgData name="Gastbenutzer" userId="" providerId="Windows Live" clId="Web-{848A9A37-B677-7868-1AD9-FF76479E0136}" dt="2025-04-23T10:02:12.782" v="1"/>
          <ac:spMkLst>
            <pc:docMk/>
            <pc:sldMk cId="1494227697" sldId="293"/>
            <ac:spMk id="5" creationId="{B0261A3D-7C4B-3118-7AB1-20D3C46E6DFC}"/>
          </ac:spMkLst>
        </pc:spChg>
        <pc:spChg chg="add del mod">
          <ac:chgData name="Gastbenutzer" userId="" providerId="Windows Live" clId="Web-{848A9A37-B677-7868-1AD9-FF76479E0136}" dt="2025-04-23T10:03:37.206" v="29"/>
          <ac:spMkLst>
            <pc:docMk/>
            <pc:sldMk cId="1494227697" sldId="293"/>
            <ac:spMk id="6" creationId="{3DC6357A-3AB4-8C86-BEB5-A3748698B9AB}"/>
          </ac:spMkLst>
        </pc:spChg>
        <pc:spChg chg="add mod">
          <ac:chgData name="Gastbenutzer" userId="" providerId="Windows Live" clId="Web-{848A9A37-B677-7868-1AD9-FF76479E0136}" dt="2025-04-23T10:07:39.666" v="166" actId="1076"/>
          <ac:spMkLst>
            <pc:docMk/>
            <pc:sldMk cId="1494227697" sldId="293"/>
            <ac:spMk id="8" creationId="{E777FC32-DC99-453C-E3E9-0543CAA5192A}"/>
          </ac:spMkLst>
        </pc:spChg>
        <pc:spChg chg="add mod">
          <ac:chgData name="Gastbenutzer" userId="" providerId="Windows Live" clId="Web-{848A9A37-B677-7868-1AD9-FF76479E0136}" dt="2025-04-23T10:26:40.118" v="553" actId="20577"/>
          <ac:spMkLst>
            <pc:docMk/>
            <pc:sldMk cId="1494227697" sldId="293"/>
            <ac:spMk id="9" creationId="{41C6DE4C-05CD-2F47-A8CD-D987693FED74}"/>
          </ac:spMkLst>
        </pc:spChg>
        <pc:spChg chg="add mod">
          <ac:chgData name="Gastbenutzer" userId="" providerId="Windows Live" clId="Web-{848A9A37-B677-7868-1AD9-FF76479E0136}" dt="2025-04-23T10:20:42.874" v="549" actId="20577"/>
          <ac:spMkLst>
            <pc:docMk/>
            <pc:sldMk cId="1494227697" sldId="293"/>
            <ac:spMk id="10" creationId="{8731F55E-16D8-4825-9C28-7F59B62D9655}"/>
          </ac:spMkLst>
        </pc:spChg>
        <pc:spChg chg="add mod">
          <ac:chgData name="Gastbenutzer" userId="" providerId="Windows Live" clId="Web-{848A9A37-B677-7868-1AD9-FF76479E0136}" dt="2025-04-23T10:21:01.093" v="550" actId="1076"/>
          <ac:spMkLst>
            <pc:docMk/>
            <pc:sldMk cId="1494227697" sldId="293"/>
            <ac:spMk id="11" creationId="{460DEE09-2BBC-2A21-3847-3390F062E166}"/>
          </ac:spMkLst>
        </pc:spChg>
      </pc:sldChg>
      <pc:sldChg chg="modSp">
        <pc:chgData name="Gastbenutzer" userId="" providerId="Windows Live" clId="Web-{848A9A37-B677-7868-1AD9-FF76479E0136}" dt="2025-04-23T11:46:39.678" v="571" actId="20577"/>
        <pc:sldMkLst>
          <pc:docMk/>
          <pc:sldMk cId="2331572484" sldId="296"/>
        </pc:sldMkLst>
        <pc:spChg chg="mod">
          <ac:chgData name="Gastbenutzer" userId="" providerId="Windows Live" clId="Web-{848A9A37-B677-7868-1AD9-FF76479E0136}" dt="2025-04-23T11:46:39.678" v="571" actId="20577"/>
          <ac:spMkLst>
            <pc:docMk/>
            <pc:sldMk cId="2331572484" sldId="296"/>
            <ac:spMk id="5" creationId="{671344F1-3982-25E9-F209-F0C442889135}"/>
          </ac:spMkLst>
        </pc:spChg>
      </pc:sldChg>
      <pc:sldChg chg="addSp delSp modSp add replId">
        <pc:chgData name="Gastbenutzer" userId="" providerId="Windows Live" clId="Web-{848A9A37-B677-7868-1AD9-FF76479E0136}" dt="2025-04-23T13:52:44.373" v="614" actId="1076"/>
        <pc:sldMkLst>
          <pc:docMk/>
          <pc:sldMk cId="4096166175" sldId="300"/>
        </pc:sldMkLst>
        <pc:spChg chg="add del mod">
          <ac:chgData name="Gastbenutzer" userId="" providerId="Windows Live" clId="Web-{848A9A37-B677-7868-1AD9-FF76479E0136}" dt="2025-04-23T13:40:41.027" v="601"/>
          <ac:spMkLst>
            <pc:docMk/>
            <pc:sldMk cId="4096166175" sldId="300"/>
            <ac:spMk id="7" creationId="{4E8C8929-6595-8C23-6F11-82E2256084CE}"/>
          </ac:spMkLst>
        </pc:spChg>
        <pc:picChg chg="add del mod modCrop">
          <ac:chgData name="Gastbenutzer" userId="" providerId="Windows Live" clId="Web-{848A9A37-B677-7868-1AD9-FF76479E0136}" dt="2025-04-23T13:20:58.030" v="577"/>
          <ac:picMkLst>
            <pc:docMk/>
            <pc:sldMk cId="4096166175" sldId="300"/>
            <ac:picMk id="2" creationId="{296C95C2-2B15-3345-005A-77415A77C840}"/>
          </ac:picMkLst>
        </pc:picChg>
        <pc:picChg chg="add">
          <ac:chgData name="Gastbenutzer" userId="" providerId="Windows Live" clId="Web-{848A9A37-B677-7868-1AD9-FF76479E0136}" dt="2025-04-23T13:21:19.047" v="579"/>
          <ac:picMkLst>
            <pc:docMk/>
            <pc:sldMk cId="4096166175" sldId="300"/>
            <ac:picMk id="10" creationId="{B71924C8-85C0-F7AD-EE7E-692D12B91270}"/>
          </ac:picMkLst>
        </pc:picChg>
        <pc:picChg chg="add mod">
          <ac:chgData name="Gastbenutzer" userId="" providerId="Windows Live" clId="Web-{848A9A37-B677-7868-1AD9-FF76479E0136}" dt="2025-04-23T13:31:06.342" v="593" actId="1076"/>
          <ac:picMkLst>
            <pc:docMk/>
            <pc:sldMk cId="4096166175" sldId="300"/>
            <ac:picMk id="11" creationId="{FC6C07BD-D8B1-4D48-3B6C-2CFDAB4C01FA}"/>
          </ac:picMkLst>
        </pc:picChg>
        <pc:picChg chg="add del mod">
          <ac:chgData name="Gastbenutzer" userId="" providerId="Windows Live" clId="Web-{848A9A37-B677-7868-1AD9-FF76479E0136}" dt="2025-04-23T13:39:31.542" v="597"/>
          <ac:picMkLst>
            <pc:docMk/>
            <pc:sldMk cId="4096166175" sldId="300"/>
            <ac:picMk id="12" creationId="{ADCC7C6A-BF9E-F9EA-C0D7-6232C5375A91}"/>
          </ac:picMkLst>
        </pc:picChg>
        <pc:picChg chg="add mod">
          <ac:chgData name="Gastbenutzer" userId="" providerId="Windows Live" clId="Web-{848A9A37-B677-7868-1AD9-FF76479E0136}" dt="2025-04-23T13:40:46.918" v="602" actId="1076"/>
          <ac:picMkLst>
            <pc:docMk/>
            <pc:sldMk cId="4096166175" sldId="300"/>
            <ac:picMk id="14" creationId="{BC5E429F-B420-8D4A-00B9-9A054D39D2DF}"/>
          </ac:picMkLst>
        </pc:picChg>
        <pc:picChg chg="add mod">
          <ac:chgData name="Gastbenutzer" userId="" providerId="Windows Live" clId="Web-{848A9A37-B677-7868-1AD9-FF76479E0136}" dt="2025-04-23T13:46:28.083" v="605" actId="14100"/>
          <ac:picMkLst>
            <pc:docMk/>
            <pc:sldMk cId="4096166175" sldId="300"/>
            <ac:picMk id="15" creationId="{AF96A913-0406-07E2-14F8-7DFA70093086}"/>
          </ac:picMkLst>
        </pc:picChg>
        <pc:picChg chg="add del mod">
          <ac:chgData name="Gastbenutzer" userId="" providerId="Windows Live" clId="Web-{848A9A37-B677-7868-1AD9-FF76479E0136}" dt="2025-04-23T13:52:18.450" v="610"/>
          <ac:picMkLst>
            <pc:docMk/>
            <pc:sldMk cId="4096166175" sldId="300"/>
            <ac:picMk id="18" creationId="{0B3551DD-4954-79F9-F459-155FE1DE5111}"/>
          </ac:picMkLst>
        </pc:picChg>
        <pc:picChg chg="add mod">
          <ac:chgData name="Gastbenutzer" userId="" providerId="Windows Live" clId="Web-{848A9A37-B677-7868-1AD9-FF76479E0136}" dt="2025-04-23T13:52:44.373" v="614" actId="1076"/>
          <ac:picMkLst>
            <pc:docMk/>
            <pc:sldMk cId="4096166175" sldId="300"/>
            <ac:picMk id="20" creationId="{8C30B03C-79F1-C318-D115-498EAFDD04FC}"/>
          </ac:picMkLst>
        </pc:picChg>
      </pc:sldChg>
      <pc:sldChg chg="new del">
        <pc:chgData name="Gastbenutzer" userId="" providerId="Windows Live" clId="Web-{848A9A37-B677-7868-1AD9-FF76479E0136}" dt="2025-04-23T13:39:15.775" v="595"/>
        <pc:sldMkLst>
          <pc:docMk/>
          <pc:sldMk cId="760899026" sldId="301"/>
        </pc:sldMkLst>
      </pc:sldChg>
    </pc:docChg>
  </pc:docChgLst>
  <pc:docChgLst>
    <pc:chgData name="Gastbenutzer" providerId="Windows Live" clId="Web-{326102E4-6B45-6ECE-B6DC-A53DF9E47DAF}"/>
    <pc:docChg chg="addSld modSld sldOrd modSection">
      <pc:chgData name="Gastbenutzer" userId="" providerId="Windows Live" clId="Web-{326102E4-6B45-6ECE-B6DC-A53DF9E47DAF}" dt="2025-04-24T09:17:17.691" v="11" actId="1076"/>
      <pc:docMkLst>
        <pc:docMk/>
      </pc:docMkLst>
      <pc:sldChg chg="ord">
        <pc:chgData name="Gastbenutzer" userId="" providerId="Windows Live" clId="Web-{326102E4-6B45-6ECE-B6DC-A53DF9E47DAF}" dt="2025-04-24T08:32:28.574" v="0"/>
        <pc:sldMkLst>
          <pc:docMk/>
          <pc:sldMk cId="3914386203" sldId="330"/>
        </pc:sldMkLst>
      </pc:sldChg>
      <pc:sldChg chg="addSp delSp modSp add replId addAnim">
        <pc:chgData name="Gastbenutzer" userId="" providerId="Windows Live" clId="Web-{326102E4-6B45-6ECE-B6DC-A53DF9E47DAF}" dt="2025-04-24T09:17:17.691" v="11" actId="1076"/>
        <pc:sldMkLst>
          <pc:docMk/>
          <pc:sldMk cId="1480926650" sldId="341"/>
        </pc:sldMkLst>
        <pc:spChg chg="del">
          <ac:chgData name="Gastbenutzer" userId="" providerId="Windows Live" clId="Web-{326102E4-6B45-6ECE-B6DC-A53DF9E47DAF}" dt="2025-04-24T09:16:28.283" v="3"/>
          <ac:spMkLst>
            <pc:docMk/>
            <pc:sldMk cId="1480926650" sldId="341"/>
            <ac:spMk id="8" creationId="{20782698-4B30-BD69-6B8B-A0CA7D651B00}"/>
          </ac:spMkLst>
        </pc:spChg>
        <pc:spChg chg="del mod">
          <ac:chgData name="Gastbenutzer" userId="" providerId="Windows Live" clId="Web-{326102E4-6B45-6ECE-B6DC-A53DF9E47DAF}" dt="2025-04-24T09:16:54.191" v="6"/>
          <ac:spMkLst>
            <pc:docMk/>
            <pc:sldMk cId="1480926650" sldId="341"/>
            <ac:spMk id="34" creationId="{9FE6D3DE-A95C-2846-EE2A-278DDC776ED9}"/>
          </ac:spMkLst>
        </pc:spChg>
        <pc:picChg chg="add mod">
          <ac:chgData name="Gastbenutzer" userId="" providerId="Windows Live" clId="Web-{326102E4-6B45-6ECE-B6DC-A53DF9E47DAF}" dt="2025-04-24T09:17:17.691" v="11" actId="1076"/>
          <ac:picMkLst>
            <pc:docMk/>
            <pc:sldMk cId="1480926650" sldId="341"/>
            <ac:picMk id="6" creationId="{68995F11-F901-0EF0-2FC4-AD241612F806}"/>
          </ac:picMkLst>
        </pc:picChg>
      </pc:sldChg>
    </pc:docChg>
  </pc:docChgLst>
  <pc:docChgLst>
    <pc:chgData name="Florian Faller" userId="4e496f4204a626e3" providerId="LiveId" clId="{9A21812C-E53D-4018-A66F-CEBBCC2D158E}"/>
    <pc:docChg chg="undo redo custSel addSld delSld modSld sldOrd modMainMaster addSection delSection modSection">
      <pc:chgData name="Florian Faller" userId="4e496f4204a626e3" providerId="LiveId" clId="{9A21812C-E53D-4018-A66F-CEBBCC2D158E}" dt="2025-04-24T09:49:16.898" v="16455" actId="17853"/>
      <pc:docMkLst>
        <pc:docMk/>
      </pc:docMkLst>
      <pc:sldChg chg="addSp delSp modSp mod">
        <pc:chgData name="Florian Faller" userId="4e496f4204a626e3" providerId="LiveId" clId="{9A21812C-E53D-4018-A66F-CEBBCC2D158E}" dt="2025-04-23T22:36:47.012" v="10128" actId="478"/>
        <pc:sldMkLst>
          <pc:docMk/>
          <pc:sldMk cId="1883836176" sldId="256"/>
        </pc:sldMkLst>
        <pc:spChg chg="add mod">
          <ac:chgData name="Florian Faller" userId="4e496f4204a626e3" providerId="LiveId" clId="{9A21812C-E53D-4018-A66F-CEBBCC2D158E}" dt="2025-04-23T22:36:42.223" v="10125"/>
          <ac:spMkLst>
            <pc:docMk/>
            <pc:sldMk cId="1883836176" sldId="256"/>
            <ac:spMk id="2" creationId="{3D7E3C80-08BF-1E84-DFCA-0B25417EEEBA}"/>
          </ac:spMkLst>
        </pc:spChg>
        <pc:spChg chg="add mod">
          <ac:chgData name="Florian Faller" userId="4e496f4204a626e3" providerId="LiveId" clId="{9A21812C-E53D-4018-A66F-CEBBCC2D158E}" dt="2025-04-23T22:36:42.223" v="10125"/>
          <ac:spMkLst>
            <pc:docMk/>
            <pc:sldMk cId="1883836176" sldId="256"/>
            <ac:spMk id="3" creationId="{2C670479-B04F-D957-DA5B-14D5097B3665}"/>
          </ac:spMkLst>
        </pc:spChg>
        <pc:spChg chg="add mod">
          <ac:chgData name="Florian Faller" userId="4e496f4204a626e3" providerId="LiveId" clId="{9A21812C-E53D-4018-A66F-CEBBCC2D158E}" dt="2025-04-23T22:36:42.223" v="10125"/>
          <ac:spMkLst>
            <pc:docMk/>
            <pc:sldMk cId="1883836176" sldId="256"/>
            <ac:spMk id="5" creationId="{6F670265-6D69-FBEB-2830-0F2E9F8A3CAC}"/>
          </ac:spMkLst>
        </pc:spChg>
        <pc:picChg chg="add del mod">
          <ac:chgData name="Florian Faller" userId="4e496f4204a626e3" providerId="LiveId" clId="{9A21812C-E53D-4018-A66F-CEBBCC2D158E}" dt="2025-04-23T22:36:47.012" v="10128" actId="478"/>
          <ac:picMkLst>
            <pc:docMk/>
            <pc:sldMk cId="1883836176" sldId="256"/>
            <ac:picMk id="7" creationId="{F1519932-EA73-3D14-2B89-81860E6E55FA}"/>
          </ac:picMkLst>
        </pc:picChg>
      </pc:sldChg>
      <pc:sldChg chg="add del">
        <pc:chgData name="Florian Faller" userId="4e496f4204a626e3" providerId="LiveId" clId="{9A21812C-E53D-4018-A66F-CEBBCC2D158E}" dt="2025-04-24T09:49:14.149" v="16454" actId="47"/>
        <pc:sldMkLst>
          <pc:docMk/>
          <pc:sldMk cId="277377105" sldId="257"/>
        </pc:sldMkLst>
      </pc:sldChg>
      <pc:sldChg chg="add del">
        <pc:chgData name="Florian Faller" userId="4e496f4204a626e3" providerId="LiveId" clId="{9A21812C-E53D-4018-A66F-CEBBCC2D158E}" dt="2025-04-24T09:49:14.149" v="16454" actId="47"/>
        <pc:sldMkLst>
          <pc:docMk/>
          <pc:sldMk cId="611775336" sldId="258"/>
        </pc:sldMkLst>
      </pc:sldChg>
      <pc:sldChg chg="del">
        <pc:chgData name="Florian Faller" userId="4e496f4204a626e3" providerId="LiveId" clId="{9A21812C-E53D-4018-A66F-CEBBCC2D158E}" dt="2025-04-24T09:49:14.149" v="16454" actId="47"/>
        <pc:sldMkLst>
          <pc:docMk/>
          <pc:sldMk cId="414789630" sldId="259"/>
        </pc:sldMkLst>
      </pc:sldChg>
      <pc:sldChg chg="del">
        <pc:chgData name="Florian Faller" userId="4e496f4204a626e3" providerId="LiveId" clId="{9A21812C-E53D-4018-A66F-CEBBCC2D158E}" dt="2025-04-24T09:49:14.149" v="16454" actId="47"/>
        <pc:sldMkLst>
          <pc:docMk/>
          <pc:sldMk cId="2378828155" sldId="260"/>
        </pc:sldMkLst>
      </pc:sldChg>
      <pc:sldChg chg="del">
        <pc:chgData name="Florian Faller" userId="4e496f4204a626e3" providerId="LiveId" clId="{9A21812C-E53D-4018-A66F-CEBBCC2D158E}" dt="2025-04-24T09:49:14.149" v="16454" actId="47"/>
        <pc:sldMkLst>
          <pc:docMk/>
          <pc:sldMk cId="2093948892" sldId="262"/>
        </pc:sldMkLst>
      </pc:sldChg>
      <pc:sldChg chg="del">
        <pc:chgData name="Florian Faller" userId="4e496f4204a626e3" providerId="LiveId" clId="{9A21812C-E53D-4018-A66F-CEBBCC2D158E}" dt="2025-04-24T09:49:14.149" v="16454" actId="47"/>
        <pc:sldMkLst>
          <pc:docMk/>
          <pc:sldMk cId="3678690325" sldId="263"/>
        </pc:sldMkLst>
      </pc:sldChg>
      <pc:sldChg chg="del">
        <pc:chgData name="Florian Faller" userId="4e496f4204a626e3" providerId="LiveId" clId="{9A21812C-E53D-4018-A66F-CEBBCC2D158E}" dt="2025-04-24T09:49:14.149" v="16454" actId="47"/>
        <pc:sldMkLst>
          <pc:docMk/>
          <pc:sldMk cId="3094425145" sldId="264"/>
        </pc:sldMkLst>
      </pc:sldChg>
      <pc:sldChg chg="del">
        <pc:chgData name="Florian Faller" userId="4e496f4204a626e3" providerId="LiveId" clId="{9A21812C-E53D-4018-A66F-CEBBCC2D158E}" dt="2025-04-24T09:49:14.149" v="16454" actId="47"/>
        <pc:sldMkLst>
          <pc:docMk/>
          <pc:sldMk cId="1057146124" sldId="265"/>
        </pc:sldMkLst>
      </pc:sldChg>
      <pc:sldChg chg="del">
        <pc:chgData name="Florian Faller" userId="4e496f4204a626e3" providerId="LiveId" clId="{9A21812C-E53D-4018-A66F-CEBBCC2D158E}" dt="2025-04-24T09:49:14.149" v="16454" actId="47"/>
        <pc:sldMkLst>
          <pc:docMk/>
          <pc:sldMk cId="3324314209" sldId="266"/>
        </pc:sldMkLst>
      </pc:sldChg>
      <pc:sldChg chg="del">
        <pc:chgData name="Florian Faller" userId="4e496f4204a626e3" providerId="LiveId" clId="{9A21812C-E53D-4018-A66F-CEBBCC2D158E}" dt="2025-04-24T09:49:14.149" v="16454" actId="47"/>
        <pc:sldMkLst>
          <pc:docMk/>
          <pc:sldMk cId="3313535378" sldId="268"/>
        </pc:sldMkLst>
      </pc:sldChg>
      <pc:sldChg chg="del">
        <pc:chgData name="Florian Faller" userId="4e496f4204a626e3" providerId="LiveId" clId="{9A21812C-E53D-4018-A66F-CEBBCC2D158E}" dt="2025-04-24T09:49:14.149" v="16454" actId="47"/>
        <pc:sldMkLst>
          <pc:docMk/>
          <pc:sldMk cId="1433309288" sldId="269"/>
        </pc:sldMkLst>
      </pc:sldChg>
      <pc:sldChg chg="modSp del mod">
        <pc:chgData name="Florian Faller" userId="4e496f4204a626e3" providerId="LiveId" clId="{9A21812C-E53D-4018-A66F-CEBBCC2D158E}" dt="2025-04-24T09:49:14.149" v="16454" actId="47"/>
        <pc:sldMkLst>
          <pc:docMk/>
          <pc:sldMk cId="2292769164" sldId="270"/>
        </pc:sldMkLst>
        <pc:grpChg chg="mod">
          <ac:chgData name="Florian Faller" userId="4e496f4204a626e3" providerId="LiveId" clId="{9A21812C-E53D-4018-A66F-CEBBCC2D158E}" dt="2025-04-24T08:24:27.819" v="14737" actId="1076"/>
          <ac:grpSpMkLst>
            <pc:docMk/>
            <pc:sldMk cId="2292769164" sldId="270"/>
            <ac:grpSpMk id="95" creationId="{980EB1B1-085F-4C16-AA18-D1651CA90A86}"/>
          </ac:grpSpMkLst>
        </pc:grpChg>
      </pc:sldChg>
      <pc:sldChg chg="addSp delSp modSp del mod ord modClrScheme modShow chgLayout">
        <pc:chgData name="Florian Faller" userId="4e496f4204a626e3" providerId="LiveId" clId="{9A21812C-E53D-4018-A66F-CEBBCC2D158E}" dt="2025-04-24T09:49:14.149" v="16454" actId="47"/>
        <pc:sldMkLst>
          <pc:docMk/>
          <pc:sldMk cId="3168340832" sldId="271"/>
        </pc:sldMkLst>
        <pc:spChg chg="add del mod modVis">
          <ac:chgData name="Florian Faller" userId="4e496f4204a626e3" providerId="LiveId" clId="{9A21812C-E53D-4018-A66F-CEBBCC2D158E}" dt="2025-04-23T20:15:36.512" v="8261"/>
          <ac:spMkLst>
            <pc:docMk/>
            <pc:sldMk cId="3168340832" sldId="271"/>
            <ac:spMk id="2" creationId="{F585272C-10FC-BBB1-5CE5-4840C113E4A3}"/>
          </ac:spMkLst>
        </pc:spChg>
        <pc:spChg chg="mod ord">
          <ac:chgData name="Florian Faller" userId="4e496f4204a626e3" providerId="LiveId" clId="{9A21812C-E53D-4018-A66F-CEBBCC2D158E}" dt="2025-04-23T20:15:35.689" v="8237" actId="700"/>
          <ac:spMkLst>
            <pc:docMk/>
            <pc:sldMk cId="3168340832" sldId="271"/>
            <ac:spMk id="3" creationId="{8E1EF600-9BF7-5A77-8DB8-F2726B56B176}"/>
          </ac:spMkLst>
        </pc:spChg>
        <pc:spChg chg="mod ord">
          <ac:chgData name="Florian Faller" userId="4e496f4204a626e3" providerId="LiveId" clId="{9A21812C-E53D-4018-A66F-CEBBCC2D158E}" dt="2025-04-23T20:15:35.689" v="8237" actId="700"/>
          <ac:spMkLst>
            <pc:docMk/>
            <pc:sldMk cId="3168340832" sldId="271"/>
            <ac:spMk id="10" creationId="{F6101639-B98B-4290-81F2-6592D5FA903D}"/>
          </ac:spMkLst>
        </pc:spChg>
        <pc:spChg chg="mod ord">
          <ac:chgData name="Florian Faller" userId="4e496f4204a626e3" providerId="LiveId" clId="{9A21812C-E53D-4018-A66F-CEBBCC2D158E}" dt="2025-04-23T20:15:35.689" v="8237" actId="700"/>
          <ac:spMkLst>
            <pc:docMk/>
            <pc:sldMk cId="3168340832" sldId="271"/>
            <ac:spMk id="11" creationId="{D326A7AE-D42B-4931-9C9A-68C7909D88C2}"/>
          </ac:spMkLst>
        </pc:spChg>
        <pc:spChg chg="mod ord">
          <ac:chgData name="Florian Faller" userId="4e496f4204a626e3" providerId="LiveId" clId="{9A21812C-E53D-4018-A66F-CEBBCC2D158E}" dt="2025-04-23T20:15:35.689" v="8237" actId="700"/>
          <ac:spMkLst>
            <pc:docMk/>
            <pc:sldMk cId="3168340832" sldId="271"/>
            <ac:spMk id="12" creationId="{09EE126B-B5CD-4FEC-A36A-5B51A1CE257E}"/>
          </ac:spMkLst>
        </pc:spChg>
        <pc:spChg chg="mod ord">
          <ac:chgData name="Florian Faller" userId="4e496f4204a626e3" providerId="LiveId" clId="{9A21812C-E53D-4018-A66F-CEBBCC2D158E}" dt="2025-04-23T20:15:36.394" v="8238" actId="948"/>
          <ac:spMkLst>
            <pc:docMk/>
            <pc:sldMk cId="3168340832" sldId="271"/>
            <ac:spMk id="19" creationId="{D103FBC2-93DA-4F24-B8BE-37966E29D590}"/>
          </ac:spMkLst>
        </pc:spChg>
        <pc:graphicFrameChg chg="add mod ord modVis">
          <ac:chgData name="Florian Faller" userId="4e496f4204a626e3" providerId="LiveId" clId="{9A21812C-E53D-4018-A66F-CEBBCC2D158E}" dt="2025-04-23T20:15:36.612" v="8275"/>
          <ac:graphicFrameMkLst>
            <pc:docMk/>
            <pc:sldMk cId="3168340832" sldId="271"/>
            <ac:graphicFrameMk id="5" creationId="{F6799F9F-F46C-0D99-012E-AFDC61236422}"/>
          </ac:graphicFrameMkLst>
        </pc:graphicFrameChg>
        <pc:picChg chg="mod ord modCrop">
          <ac:chgData name="Florian Faller" userId="4e496f4204a626e3" providerId="LiveId" clId="{9A21812C-E53D-4018-A66F-CEBBCC2D158E}" dt="2025-04-23T20:15:51.013" v="8279" actId="1076"/>
          <ac:picMkLst>
            <pc:docMk/>
            <pc:sldMk cId="3168340832" sldId="271"/>
            <ac:picMk id="46" creationId="{4CCDE114-C87D-4D8A-AC71-4CEECD759FE8}"/>
          </ac:picMkLst>
        </pc:picChg>
      </pc:sldChg>
      <pc:sldChg chg="del">
        <pc:chgData name="Florian Faller" userId="4e496f4204a626e3" providerId="LiveId" clId="{9A21812C-E53D-4018-A66F-CEBBCC2D158E}" dt="2025-04-24T09:49:14.149" v="16454" actId="47"/>
        <pc:sldMkLst>
          <pc:docMk/>
          <pc:sldMk cId="423171115" sldId="274"/>
        </pc:sldMkLst>
      </pc:sldChg>
      <pc:sldChg chg="del">
        <pc:chgData name="Florian Faller" userId="4e496f4204a626e3" providerId="LiveId" clId="{9A21812C-E53D-4018-A66F-CEBBCC2D158E}" dt="2025-04-24T09:49:14.149" v="16454" actId="47"/>
        <pc:sldMkLst>
          <pc:docMk/>
          <pc:sldMk cId="1987845210" sldId="275"/>
        </pc:sldMkLst>
      </pc:sldChg>
      <pc:sldChg chg="del">
        <pc:chgData name="Florian Faller" userId="4e496f4204a626e3" providerId="LiveId" clId="{9A21812C-E53D-4018-A66F-CEBBCC2D158E}" dt="2025-04-24T09:49:14.149" v="16454" actId="47"/>
        <pc:sldMkLst>
          <pc:docMk/>
          <pc:sldMk cId="1505696902" sldId="276"/>
        </pc:sldMkLst>
      </pc:sldChg>
      <pc:sldChg chg="del">
        <pc:chgData name="Florian Faller" userId="4e496f4204a626e3" providerId="LiveId" clId="{9A21812C-E53D-4018-A66F-CEBBCC2D158E}" dt="2025-04-24T09:49:14.149" v="16454" actId="47"/>
        <pc:sldMkLst>
          <pc:docMk/>
          <pc:sldMk cId="3474899755" sldId="278"/>
        </pc:sldMkLst>
      </pc:sldChg>
      <pc:sldChg chg="add del">
        <pc:chgData name="Florian Faller" userId="4e496f4204a626e3" providerId="LiveId" clId="{9A21812C-E53D-4018-A66F-CEBBCC2D158E}" dt="2025-04-24T09:49:14.149" v="16454" actId="47"/>
        <pc:sldMkLst>
          <pc:docMk/>
          <pc:sldMk cId="322956079" sldId="279"/>
        </pc:sldMkLst>
      </pc:sldChg>
      <pc:sldChg chg="addSp delSp modSp del mod">
        <pc:chgData name="Florian Faller" userId="4e496f4204a626e3" providerId="LiveId" clId="{9A21812C-E53D-4018-A66F-CEBBCC2D158E}" dt="2025-04-23T15:16:38.480" v="4818" actId="47"/>
        <pc:sldMkLst>
          <pc:docMk/>
          <pc:sldMk cId="3547616816" sldId="283"/>
        </pc:sldMkLst>
        <pc:spChg chg="add del mod modVis">
          <ac:chgData name="Florian Faller" userId="4e496f4204a626e3" providerId="LiveId" clId="{9A21812C-E53D-4018-A66F-CEBBCC2D158E}" dt="2025-04-23T06:21:08.939" v="1018"/>
          <ac:spMkLst>
            <pc:docMk/>
            <pc:sldMk cId="3547616816" sldId="283"/>
            <ac:spMk id="2" creationId="{1AFA4691-CC3D-F90C-48E5-9471718A2F58}"/>
          </ac:spMkLst>
        </pc:spChg>
        <pc:spChg chg="mod">
          <ac:chgData name="Florian Faller" userId="4e496f4204a626e3" providerId="LiveId" clId="{9A21812C-E53D-4018-A66F-CEBBCC2D158E}" dt="2025-04-23T06:21:08.848" v="994" actId="948"/>
          <ac:spMkLst>
            <pc:docMk/>
            <pc:sldMk cId="3547616816" sldId="283"/>
            <ac:spMk id="8" creationId="{3BC1F91F-1F54-0401-7B69-D740031E5733}"/>
          </ac:spMkLst>
        </pc:spChg>
        <pc:spChg chg="mod">
          <ac:chgData name="Florian Faller" userId="4e496f4204a626e3" providerId="LiveId" clId="{9A21812C-E53D-4018-A66F-CEBBCC2D158E}" dt="2025-04-23T06:20:50.545" v="906"/>
          <ac:spMkLst>
            <pc:docMk/>
            <pc:sldMk cId="3547616816" sldId="283"/>
            <ac:spMk id="9" creationId="{AB2B7956-B39E-2ED6-FEDF-2E73908595F8}"/>
          </ac:spMkLst>
        </pc:spChg>
        <pc:graphicFrameChg chg="add mod ord modVis">
          <ac:chgData name="Florian Faller" userId="4e496f4204a626e3" providerId="LiveId" clId="{9A21812C-E53D-4018-A66F-CEBBCC2D158E}" dt="2025-04-23T06:21:09.015" v="1032"/>
          <ac:graphicFrameMkLst>
            <pc:docMk/>
            <pc:sldMk cId="3547616816" sldId="283"/>
            <ac:graphicFrameMk id="4" creationId="{6613CBD4-3BFA-7CF9-7682-FF22BA104323}"/>
          </ac:graphicFrameMkLst>
        </pc:graphicFrameChg>
      </pc:sldChg>
      <pc:sldChg chg="addSp delSp modSp del mod">
        <pc:chgData name="Florian Faller" userId="4e496f4204a626e3" providerId="LiveId" clId="{9A21812C-E53D-4018-A66F-CEBBCC2D158E}" dt="2025-04-23T06:20:14.104" v="858" actId="47"/>
        <pc:sldMkLst>
          <pc:docMk/>
          <pc:sldMk cId="2737334246" sldId="284"/>
        </pc:sldMkLst>
        <pc:spChg chg="add del mod modVis">
          <ac:chgData name="Florian Faller" userId="4e496f4204a626e3" providerId="LiveId" clId="{9A21812C-E53D-4018-A66F-CEBBCC2D158E}" dt="2025-04-23T06:13:12.012" v="248" actId="962"/>
          <ac:spMkLst>
            <pc:docMk/>
            <pc:sldMk cId="2737334246" sldId="284"/>
            <ac:spMk id="6" creationId="{579BD159-0118-7699-1E7F-C9AC114B4EA7}"/>
          </ac:spMkLst>
        </pc:spChg>
        <pc:spChg chg="mod">
          <ac:chgData name="Florian Faller" userId="4e496f4204a626e3" providerId="LiveId" clId="{9A21812C-E53D-4018-A66F-CEBBCC2D158E}" dt="2025-04-23T06:13:12.064" v="271" actId="692"/>
          <ac:spMkLst>
            <pc:docMk/>
            <pc:sldMk cId="2737334246" sldId="284"/>
            <ac:spMk id="34" creationId="{237FC65C-9D67-30AA-D259-9CA341E0BD49}"/>
          </ac:spMkLst>
        </pc:spChg>
        <pc:graphicFrameChg chg="add mod ord modVis">
          <ac:chgData name="Florian Faller" userId="4e496f4204a626e3" providerId="LiveId" clId="{9A21812C-E53D-4018-A66F-CEBBCC2D158E}" dt="2025-04-23T06:13:11.912" v="225" actId="14100"/>
          <ac:graphicFrameMkLst>
            <pc:docMk/>
            <pc:sldMk cId="2737334246" sldId="284"/>
            <ac:graphicFrameMk id="7" creationId="{D9FBB9D0-0447-BA10-4597-8E1DB4E4E57A}"/>
          </ac:graphicFrameMkLst>
        </pc:graphicFrameChg>
      </pc:sldChg>
      <pc:sldChg chg="addSp delSp modSp del mod ord modShow">
        <pc:chgData name="Florian Faller" userId="4e496f4204a626e3" providerId="LiveId" clId="{9A21812C-E53D-4018-A66F-CEBBCC2D158E}" dt="2025-04-24T09:49:14.149" v="16454" actId="47"/>
        <pc:sldMkLst>
          <pc:docMk/>
          <pc:sldMk cId="781920428" sldId="285"/>
        </pc:sldMkLst>
        <pc:spChg chg="mod">
          <ac:chgData name="Florian Faller" userId="4e496f4204a626e3" providerId="LiveId" clId="{9A21812C-E53D-4018-A66F-CEBBCC2D158E}" dt="2025-04-23T06:22:12.807" v="1034"/>
          <ac:spMkLst>
            <pc:docMk/>
            <pc:sldMk cId="781920428" sldId="285"/>
            <ac:spMk id="2" creationId="{EF733FB5-CBA1-2EC7-D622-E9B90C23AF53}"/>
          </ac:spMkLst>
        </pc:spChg>
        <pc:spChg chg="add del mod modVis">
          <ac:chgData name="Florian Faller" userId="4e496f4204a626e3" providerId="LiveId" clId="{9A21812C-E53D-4018-A66F-CEBBCC2D158E}" dt="2025-04-23T06:20:37.673" v="886"/>
          <ac:spMkLst>
            <pc:docMk/>
            <pc:sldMk cId="781920428" sldId="285"/>
            <ac:spMk id="6" creationId="{49C10049-F594-7376-3181-88BDB8C69D62}"/>
          </ac:spMkLst>
        </pc:spChg>
        <pc:spChg chg="add mod">
          <ac:chgData name="Florian Faller" userId="4e496f4204a626e3" providerId="LiveId" clId="{9A21812C-E53D-4018-A66F-CEBBCC2D158E}" dt="2025-04-24T08:59:10.717" v="16006"/>
          <ac:spMkLst>
            <pc:docMk/>
            <pc:sldMk cId="781920428" sldId="285"/>
            <ac:spMk id="8" creationId="{A003D072-AB37-B7F8-04BD-B9433CD3ADFC}"/>
          </ac:spMkLst>
        </pc:spChg>
        <pc:spChg chg="del mod">
          <ac:chgData name="Florian Faller" userId="4e496f4204a626e3" providerId="LiveId" clId="{9A21812C-E53D-4018-A66F-CEBBCC2D158E}" dt="2025-04-24T08:59:02.161" v="16005" actId="21"/>
          <ac:spMkLst>
            <pc:docMk/>
            <pc:sldMk cId="781920428" sldId="285"/>
            <ac:spMk id="25" creationId="{A003D072-AB37-B7F8-04BD-B9433CD3ADFC}"/>
          </ac:spMkLst>
        </pc:spChg>
        <pc:spChg chg="del">
          <ac:chgData name="Florian Faller" userId="4e496f4204a626e3" providerId="LiveId" clId="{9A21812C-E53D-4018-A66F-CEBBCC2D158E}" dt="2025-04-24T08:40:34.033" v="15185" actId="478"/>
          <ac:spMkLst>
            <pc:docMk/>
            <pc:sldMk cId="781920428" sldId="285"/>
            <ac:spMk id="31" creationId="{C0D5F1C9-8F0B-029B-1DA8-2E4733847C26}"/>
          </ac:spMkLst>
        </pc:spChg>
        <pc:spChg chg="mod">
          <ac:chgData name="Florian Faller" userId="4e496f4204a626e3" providerId="LiveId" clId="{9A21812C-E53D-4018-A66F-CEBBCC2D158E}" dt="2025-04-23T06:20:37.556" v="862" actId="948"/>
          <ac:spMkLst>
            <pc:docMk/>
            <pc:sldMk cId="781920428" sldId="285"/>
            <ac:spMk id="34" creationId="{805BCDFA-C713-41D6-1503-00D26672AB2C}"/>
          </ac:spMkLst>
        </pc:spChg>
        <pc:graphicFrameChg chg="add mod ord modVis">
          <ac:chgData name="Florian Faller" userId="4e496f4204a626e3" providerId="LiveId" clId="{9A21812C-E53D-4018-A66F-CEBBCC2D158E}" dt="2025-04-23T06:20:37.747" v="900"/>
          <ac:graphicFrameMkLst>
            <pc:docMk/>
            <pc:sldMk cId="781920428" sldId="285"/>
            <ac:graphicFrameMk id="7" creationId="{F699DB57-76C4-9C3E-DD5F-674EF218EB0B}"/>
          </ac:graphicFrameMkLst>
        </pc:graphicFrameChg>
      </pc:sldChg>
      <pc:sldChg chg="delSp modSp del mod modShow">
        <pc:chgData name="Florian Faller" userId="4e496f4204a626e3" providerId="LiveId" clId="{9A21812C-E53D-4018-A66F-CEBBCC2D158E}" dt="2025-04-24T09:49:14.149" v="16454" actId="47"/>
        <pc:sldMkLst>
          <pc:docMk/>
          <pc:sldMk cId="1319198600" sldId="286"/>
        </pc:sldMkLst>
        <pc:spChg chg="del">
          <ac:chgData name="Florian Faller" userId="4e496f4204a626e3" providerId="LiveId" clId="{9A21812C-E53D-4018-A66F-CEBBCC2D158E}" dt="2025-04-23T20:03:52.901" v="7853" actId="478"/>
          <ac:spMkLst>
            <pc:docMk/>
            <pc:sldMk cId="1319198600" sldId="286"/>
            <ac:spMk id="3" creationId="{F46C185A-CC6C-8120-164B-9E273F0CB25D}"/>
          </ac:spMkLst>
        </pc:spChg>
        <pc:spChg chg="mod">
          <ac:chgData name="Florian Faller" userId="4e496f4204a626e3" providerId="LiveId" clId="{9A21812C-E53D-4018-A66F-CEBBCC2D158E}" dt="2025-04-23T20:14:50.322" v="8234" actId="20577"/>
          <ac:spMkLst>
            <pc:docMk/>
            <pc:sldMk cId="1319198600" sldId="286"/>
            <ac:spMk id="9" creationId="{8FF2AD7E-F0A2-ECFB-D2F3-81261DA61946}"/>
          </ac:spMkLst>
        </pc:spChg>
      </pc:sldChg>
      <pc:sldChg chg="addSp delSp modSp del mod ord setBg modShow">
        <pc:chgData name="Florian Faller" userId="4e496f4204a626e3" providerId="LiveId" clId="{9A21812C-E53D-4018-A66F-CEBBCC2D158E}" dt="2025-04-24T09:49:14.149" v="16454" actId="47"/>
        <pc:sldMkLst>
          <pc:docMk/>
          <pc:sldMk cId="2387142617" sldId="287"/>
        </pc:sldMkLst>
        <pc:spChg chg="mod">
          <ac:chgData name="Florian Faller" userId="4e496f4204a626e3" providerId="LiveId" clId="{9A21812C-E53D-4018-A66F-CEBBCC2D158E}" dt="2025-04-23T06:20:55.006" v="908"/>
          <ac:spMkLst>
            <pc:docMk/>
            <pc:sldMk cId="2387142617" sldId="287"/>
            <ac:spMk id="5" creationId="{B351C99B-C29D-AF31-B51D-CE1DF2246391}"/>
          </ac:spMkLst>
        </pc:spChg>
        <pc:spChg chg="add del mod">
          <ac:chgData name="Florian Faller" userId="4e496f4204a626e3" providerId="LiveId" clId="{9A21812C-E53D-4018-A66F-CEBBCC2D158E}" dt="2025-04-24T07:08:45.378" v="12480" actId="478"/>
          <ac:spMkLst>
            <pc:docMk/>
            <pc:sldMk cId="2387142617" sldId="287"/>
            <ac:spMk id="10" creationId="{0F1350B4-631A-417C-84EE-F51CF68A0772}"/>
          </ac:spMkLst>
        </pc:spChg>
        <pc:spChg chg="mod">
          <ac:chgData name="Florian Faller" userId="4e496f4204a626e3" providerId="LiveId" clId="{9A21812C-E53D-4018-A66F-CEBBCC2D158E}" dt="2025-04-23T06:24:34.115" v="1064" actId="313"/>
          <ac:spMkLst>
            <pc:docMk/>
            <pc:sldMk cId="2387142617" sldId="287"/>
            <ac:spMk id="31" creationId="{442482C6-1EDE-2906-76DE-4E92852F0A33}"/>
          </ac:spMkLst>
        </pc:spChg>
        <pc:spChg chg="mod">
          <ac:chgData name="Florian Faller" userId="4e496f4204a626e3" providerId="LiveId" clId="{9A21812C-E53D-4018-A66F-CEBBCC2D158E}" dt="2025-04-23T11:11:34.399" v="4391" actId="552"/>
          <ac:spMkLst>
            <pc:docMk/>
            <pc:sldMk cId="2387142617" sldId="287"/>
            <ac:spMk id="33" creationId="{085B5FCB-5A71-4FEA-0A29-A6BB258FEEA5}"/>
          </ac:spMkLst>
        </pc:spChg>
        <pc:spChg chg="mod">
          <ac:chgData name="Florian Faller" userId="4e496f4204a626e3" providerId="LiveId" clId="{9A21812C-E53D-4018-A66F-CEBBCC2D158E}" dt="2025-04-23T20:05:52.869" v="7957" actId="20577"/>
          <ac:spMkLst>
            <pc:docMk/>
            <pc:sldMk cId="2387142617" sldId="287"/>
            <ac:spMk id="38" creationId="{9A690884-22A1-B1E4-B21F-9B83965F6F32}"/>
          </ac:spMkLst>
        </pc:spChg>
        <pc:picChg chg="add mod modCrop">
          <ac:chgData name="Florian Faller" userId="4e496f4204a626e3" providerId="LiveId" clId="{9A21812C-E53D-4018-A66F-CEBBCC2D158E}" dt="2025-04-23T07:02:45.899" v="1074" actId="18131"/>
          <ac:picMkLst>
            <pc:docMk/>
            <pc:sldMk cId="2387142617" sldId="287"/>
            <ac:picMk id="7" creationId="{DD2D31A7-C09D-5AB7-00CF-FD6F022FB472}"/>
          </ac:picMkLst>
        </pc:picChg>
        <pc:picChg chg="add mod modCrop">
          <ac:chgData name="Florian Faller" userId="4e496f4204a626e3" providerId="LiveId" clId="{9A21812C-E53D-4018-A66F-CEBBCC2D158E}" dt="2025-04-23T11:11:40.093" v="4392" actId="14100"/>
          <ac:picMkLst>
            <pc:docMk/>
            <pc:sldMk cId="2387142617" sldId="287"/>
            <ac:picMk id="9" creationId="{EC56863C-B3CC-A99D-4E36-0AD3856A42A3}"/>
          </ac:picMkLst>
        </pc:picChg>
        <pc:picChg chg="del">
          <ac:chgData name="Florian Faller" userId="4e496f4204a626e3" providerId="LiveId" clId="{9A21812C-E53D-4018-A66F-CEBBCC2D158E}" dt="2025-04-23T11:11:02.829" v="4380" actId="478"/>
          <ac:picMkLst>
            <pc:docMk/>
            <pc:sldMk cId="2387142617" sldId="287"/>
            <ac:picMk id="1026" creationId="{56CACD33-1A31-7212-BF72-918E8B182E87}"/>
          </ac:picMkLst>
        </pc:picChg>
        <pc:picChg chg="mod">
          <ac:chgData name="Florian Faller" userId="4e496f4204a626e3" providerId="LiveId" clId="{9A21812C-E53D-4018-A66F-CEBBCC2D158E}" dt="2025-04-23T11:11:28.180" v="4390" actId="554"/>
          <ac:picMkLst>
            <pc:docMk/>
            <pc:sldMk cId="2387142617" sldId="287"/>
            <ac:picMk id="1030" creationId="{B9F968BE-715B-46E6-D23E-7EFB266548EE}"/>
          </ac:picMkLst>
        </pc:picChg>
        <pc:picChg chg="mod">
          <ac:chgData name="Florian Faller" userId="4e496f4204a626e3" providerId="LiveId" clId="{9A21812C-E53D-4018-A66F-CEBBCC2D158E}" dt="2025-04-23T07:02:16.474" v="1070" actId="554"/>
          <ac:picMkLst>
            <pc:docMk/>
            <pc:sldMk cId="2387142617" sldId="287"/>
            <ac:picMk id="1032" creationId="{9CC274DA-54C3-4A06-DA46-4C7B843E06EA}"/>
          </ac:picMkLst>
        </pc:picChg>
      </pc:sldChg>
      <pc:sldChg chg="addSp delSp modSp del mod ord modShow">
        <pc:chgData name="Florian Faller" userId="4e496f4204a626e3" providerId="LiveId" clId="{9A21812C-E53D-4018-A66F-CEBBCC2D158E}" dt="2025-04-24T09:49:14.149" v="16454" actId="47"/>
        <pc:sldMkLst>
          <pc:docMk/>
          <pc:sldMk cId="3310393580" sldId="288"/>
        </pc:sldMkLst>
        <pc:spChg chg="mod">
          <ac:chgData name="Florian Faller" userId="4e496f4204a626e3" providerId="LiveId" clId="{9A21812C-E53D-4018-A66F-CEBBCC2D158E}" dt="2025-04-23T06:20:43.795" v="902"/>
          <ac:spMkLst>
            <pc:docMk/>
            <pc:sldMk cId="3310393580" sldId="288"/>
            <ac:spMk id="2" creationId="{AAFDCDB3-BB49-424F-D593-DCA67DF2B54F}"/>
          </ac:spMkLst>
        </pc:spChg>
        <pc:spChg chg="add del mod modVis">
          <ac:chgData name="Florian Faller" userId="4e496f4204a626e3" providerId="LiveId" clId="{9A21812C-E53D-4018-A66F-CEBBCC2D158E}" dt="2025-04-23T06:12:35.388" v="117" actId="962"/>
          <ac:spMkLst>
            <pc:docMk/>
            <pc:sldMk cId="3310393580" sldId="288"/>
            <ac:spMk id="6" creationId="{68D30EF0-7523-1B0A-95A3-EA8BF755B02C}"/>
          </ac:spMkLst>
        </pc:spChg>
        <pc:spChg chg="add del mod modVis">
          <ac:chgData name="Florian Faller" userId="4e496f4204a626e3" providerId="LiveId" clId="{9A21812C-E53D-4018-A66F-CEBBCC2D158E}" dt="2025-04-23T06:21:03.327" v="935"/>
          <ac:spMkLst>
            <pc:docMk/>
            <pc:sldMk cId="3310393580" sldId="288"/>
            <ac:spMk id="8" creationId="{FF9E5F52-2F40-87B9-F22A-2A3C6B96CEFA}"/>
          </ac:spMkLst>
        </pc:spChg>
        <pc:spChg chg="mod">
          <ac:chgData name="Florian Faller" userId="4e496f4204a626e3" providerId="LiveId" clId="{9A21812C-E53D-4018-A66F-CEBBCC2D158E}" dt="2025-04-23T06:10:03.720" v="9" actId="20577"/>
          <ac:spMkLst>
            <pc:docMk/>
            <pc:sldMk cId="3310393580" sldId="288"/>
            <ac:spMk id="21" creationId="{34163B94-A692-FF1A-B446-B324A26E5252}"/>
          </ac:spMkLst>
        </pc:spChg>
        <pc:spChg chg="mod">
          <ac:chgData name="Florian Faller" userId="4e496f4204a626e3" providerId="LiveId" clId="{9A21812C-E53D-4018-A66F-CEBBCC2D158E}" dt="2025-04-23T06:21:03.215" v="911" actId="948"/>
          <ac:spMkLst>
            <pc:docMk/>
            <pc:sldMk cId="3310393580" sldId="288"/>
            <ac:spMk id="34" creationId="{A6EF67BA-66E4-EB3D-308A-1427547D7B36}"/>
          </ac:spMkLst>
        </pc:spChg>
        <pc:graphicFrameChg chg="add mod ord modVis">
          <ac:chgData name="Florian Faller" userId="4e496f4204a626e3" providerId="LiveId" clId="{9A21812C-E53D-4018-A66F-CEBBCC2D158E}" dt="2025-04-23T06:12:35.315" v="94" actId="14100"/>
          <ac:graphicFrameMkLst>
            <pc:docMk/>
            <pc:sldMk cId="3310393580" sldId="288"/>
            <ac:graphicFrameMk id="7" creationId="{EF95FF84-8AD5-E16D-F442-61713A106E40}"/>
          </ac:graphicFrameMkLst>
        </pc:graphicFrameChg>
        <pc:graphicFrameChg chg="add mod ord modVis">
          <ac:chgData name="Florian Faller" userId="4e496f4204a626e3" providerId="LiveId" clId="{9A21812C-E53D-4018-A66F-CEBBCC2D158E}" dt="2025-04-23T06:21:03.394" v="949"/>
          <ac:graphicFrameMkLst>
            <pc:docMk/>
            <pc:sldMk cId="3310393580" sldId="288"/>
            <ac:graphicFrameMk id="10" creationId="{9BE3BDDD-B156-ECAE-F2E3-BE449A52530C}"/>
          </ac:graphicFrameMkLst>
        </pc:graphicFrameChg>
      </pc:sldChg>
      <pc:sldChg chg="addSp delSp modSp del mod ord modShow">
        <pc:chgData name="Florian Faller" userId="4e496f4204a626e3" providerId="LiveId" clId="{9A21812C-E53D-4018-A66F-CEBBCC2D158E}" dt="2025-04-24T09:49:14.149" v="16454" actId="47"/>
        <pc:sldMkLst>
          <pc:docMk/>
          <pc:sldMk cId="4096813568" sldId="289"/>
        </pc:sldMkLst>
        <pc:spChg chg="mod">
          <ac:chgData name="Florian Faller" userId="4e496f4204a626e3" providerId="LiveId" clId="{9A21812C-E53D-4018-A66F-CEBBCC2D158E}" dt="2025-04-23T06:20:47.231" v="904"/>
          <ac:spMkLst>
            <pc:docMk/>
            <pc:sldMk cId="4096813568" sldId="289"/>
            <ac:spMk id="2" creationId="{74943CE1-B0C5-9F93-C8B0-A6B82F6D7312}"/>
          </ac:spMkLst>
        </pc:spChg>
        <pc:spChg chg="add del mod modVis">
          <ac:chgData name="Florian Faller" userId="4e496f4204a626e3" providerId="LiveId" clId="{9A21812C-E53D-4018-A66F-CEBBCC2D158E}" dt="2025-04-23T06:21:05.621" v="976"/>
          <ac:spMkLst>
            <pc:docMk/>
            <pc:sldMk cId="4096813568" sldId="289"/>
            <ac:spMk id="12" creationId="{732C4229-9156-B15F-FE0D-0CC161F8593A}"/>
          </ac:spMkLst>
        </pc:spChg>
        <pc:spChg chg="mod">
          <ac:chgData name="Florian Faller" userId="4e496f4204a626e3" providerId="LiveId" clId="{9A21812C-E53D-4018-A66F-CEBBCC2D158E}" dt="2025-04-23T06:21:05.529" v="952" actId="948"/>
          <ac:spMkLst>
            <pc:docMk/>
            <pc:sldMk cId="4096813568" sldId="289"/>
            <ac:spMk id="34" creationId="{6FA83FE6-E4C5-F422-3753-A09E526FD827}"/>
          </ac:spMkLst>
        </pc:spChg>
        <pc:graphicFrameChg chg="add mod ord modVis">
          <ac:chgData name="Florian Faller" userId="4e496f4204a626e3" providerId="LiveId" clId="{9A21812C-E53D-4018-A66F-CEBBCC2D158E}" dt="2025-04-23T06:21:05.702" v="990"/>
          <ac:graphicFrameMkLst>
            <pc:docMk/>
            <pc:sldMk cId="4096813568" sldId="289"/>
            <ac:graphicFrameMk id="13" creationId="{D5F66445-5A69-AA74-A976-7699C692A65A}"/>
          </ac:graphicFrameMkLst>
        </pc:graphicFrameChg>
      </pc:sldChg>
      <pc:sldChg chg="addSp delSp modSp add del mod">
        <pc:chgData name="Florian Faller" userId="4e496f4204a626e3" providerId="LiveId" clId="{9A21812C-E53D-4018-A66F-CEBBCC2D158E}" dt="2025-04-23T06:19:33.400" v="857" actId="47"/>
        <pc:sldMkLst>
          <pc:docMk/>
          <pc:sldMk cId="3118908034" sldId="290"/>
        </pc:sldMkLst>
        <pc:spChg chg="mod">
          <ac:chgData name="Florian Faller" userId="4e496f4204a626e3" providerId="LiveId" clId="{9A21812C-E53D-4018-A66F-CEBBCC2D158E}" dt="2025-04-23T06:16:06.533" v="791" actId="692"/>
          <ac:spMkLst>
            <pc:docMk/>
            <pc:sldMk cId="3118908034" sldId="290"/>
            <ac:spMk id="2" creationId="{BC6F6D2A-2C35-F310-F2E3-22C59A2804C2}"/>
          </ac:spMkLst>
        </pc:spChg>
        <pc:spChg chg="add del mod modVis">
          <ac:chgData name="Florian Faller" userId="4e496f4204a626e3" providerId="LiveId" clId="{9A21812C-E53D-4018-A66F-CEBBCC2D158E}" dt="2025-04-23T06:13:29.221" v="337"/>
          <ac:spMkLst>
            <pc:docMk/>
            <pc:sldMk cId="3118908034" sldId="290"/>
            <ac:spMk id="6" creationId="{E45A542C-903A-8957-B3B1-139B932B69CC}"/>
          </ac:spMkLst>
        </pc:spChg>
        <pc:spChg chg="add del mod modVis">
          <ac:chgData name="Florian Faller" userId="4e496f4204a626e3" providerId="LiveId" clId="{9A21812C-E53D-4018-A66F-CEBBCC2D158E}" dt="2025-04-23T06:13:30.683" v="377"/>
          <ac:spMkLst>
            <pc:docMk/>
            <pc:sldMk cId="3118908034" sldId="290"/>
            <ac:spMk id="8" creationId="{EAE110FF-E4DA-E384-A7D5-B6F94FAD4A2C}"/>
          </ac:spMkLst>
        </pc:spChg>
        <pc:spChg chg="add del mod modVis">
          <ac:chgData name="Florian Faller" userId="4e496f4204a626e3" providerId="LiveId" clId="{9A21812C-E53D-4018-A66F-CEBBCC2D158E}" dt="2025-04-23T06:14:50.446" v="407"/>
          <ac:spMkLst>
            <pc:docMk/>
            <pc:sldMk cId="3118908034" sldId="290"/>
            <ac:spMk id="9" creationId="{A881C2B9-5846-30FD-93C7-9B0E55E43BBA}"/>
          </ac:spMkLst>
        </pc:spChg>
        <pc:spChg chg="add del mod modVis">
          <ac:chgData name="Florian Faller" userId="4e496f4204a626e3" providerId="LiveId" clId="{9A21812C-E53D-4018-A66F-CEBBCC2D158E}" dt="2025-04-23T06:14:52.523" v="435"/>
          <ac:spMkLst>
            <pc:docMk/>
            <pc:sldMk cId="3118908034" sldId="290"/>
            <ac:spMk id="10" creationId="{0BDECD4C-0C51-F881-5681-DA41148E5B06}"/>
          </ac:spMkLst>
        </pc:spChg>
        <pc:spChg chg="add del mod modVis">
          <ac:chgData name="Florian Faller" userId="4e496f4204a626e3" providerId="LiveId" clId="{9A21812C-E53D-4018-A66F-CEBBCC2D158E}" dt="2025-04-23T06:14:53.873" v="463"/>
          <ac:spMkLst>
            <pc:docMk/>
            <pc:sldMk cId="3118908034" sldId="290"/>
            <ac:spMk id="11" creationId="{B23ED4E2-071F-1819-B7C4-B5673F4181F7}"/>
          </ac:spMkLst>
        </pc:spChg>
        <pc:spChg chg="add del mod modVis">
          <ac:chgData name="Florian Faller" userId="4e496f4204a626e3" providerId="LiveId" clId="{9A21812C-E53D-4018-A66F-CEBBCC2D158E}" dt="2025-04-23T06:14:55.589" v="491"/>
          <ac:spMkLst>
            <pc:docMk/>
            <pc:sldMk cId="3118908034" sldId="290"/>
            <ac:spMk id="12" creationId="{FA0D630F-A97D-AA4D-858B-96B62B78DB9D}"/>
          </ac:spMkLst>
        </pc:spChg>
        <pc:spChg chg="add del mod modVis">
          <ac:chgData name="Florian Faller" userId="4e496f4204a626e3" providerId="LiveId" clId="{9A21812C-E53D-4018-A66F-CEBBCC2D158E}" dt="2025-04-23T06:15:20.093" v="638" actId="962"/>
          <ac:spMkLst>
            <pc:docMk/>
            <pc:sldMk cId="3118908034" sldId="290"/>
            <ac:spMk id="13" creationId="{0A59F16F-000A-AFA3-2975-739B780AACA1}"/>
          </ac:spMkLst>
        </pc:spChg>
        <pc:spChg chg="add del mod modVis">
          <ac:chgData name="Florian Faller" userId="4e496f4204a626e3" providerId="LiveId" clId="{9A21812C-E53D-4018-A66F-CEBBCC2D158E}" dt="2025-04-23T06:15:18.930" v="616" actId="962"/>
          <ac:spMkLst>
            <pc:docMk/>
            <pc:sldMk cId="3118908034" sldId="290"/>
            <ac:spMk id="14" creationId="{54838692-FD9B-F29D-C1D1-71A03809D1F4}"/>
          </ac:spMkLst>
        </pc:spChg>
        <pc:spChg chg="add del mod modVis">
          <ac:chgData name="Florian Faller" userId="4e496f4204a626e3" providerId="LiveId" clId="{9A21812C-E53D-4018-A66F-CEBBCC2D158E}" dt="2025-04-23T06:15:18.140" v="594" actId="962"/>
          <ac:spMkLst>
            <pc:docMk/>
            <pc:sldMk cId="3118908034" sldId="290"/>
            <ac:spMk id="15" creationId="{52CA34BF-1139-FE7A-237F-2BA0010475B6}"/>
          </ac:spMkLst>
        </pc:spChg>
        <pc:spChg chg="add del mod modVis">
          <ac:chgData name="Florian Faller" userId="4e496f4204a626e3" providerId="LiveId" clId="{9A21812C-E53D-4018-A66F-CEBBCC2D158E}" dt="2025-04-23T06:15:24.111" v="669"/>
          <ac:spMkLst>
            <pc:docMk/>
            <pc:sldMk cId="3118908034" sldId="290"/>
            <ac:spMk id="17" creationId="{D76D7952-09FF-A7A7-8C98-7F20637958CE}"/>
          </ac:spMkLst>
        </pc:spChg>
        <pc:spChg chg="add del mod modVis">
          <ac:chgData name="Florian Faller" userId="4e496f4204a626e3" providerId="LiveId" clId="{9A21812C-E53D-4018-A66F-CEBBCC2D158E}" dt="2025-04-23T06:15:39.362" v="766" actId="962"/>
          <ac:spMkLst>
            <pc:docMk/>
            <pc:sldMk cId="3118908034" sldId="290"/>
            <ac:spMk id="18" creationId="{91D9F204-0526-2F58-FD77-C4F355C8A866}"/>
          </ac:spMkLst>
        </pc:spChg>
        <pc:spChg chg="add del mod modVis">
          <ac:chgData name="Florian Faller" userId="4e496f4204a626e3" providerId="LiveId" clId="{9A21812C-E53D-4018-A66F-CEBBCC2D158E}" dt="2025-04-23T06:15:38.396" v="744" actId="962"/>
          <ac:spMkLst>
            <pc:docMk/>
            <pc:sldMk cId="3118908034" sldId="290"/>
            <ac:spMk id="19" creationId="{C7B7ED4E-8A59-0F9B-54F4-82C59A477BD8}"/>
          </ac:spMkLst>
        </pc:spChg>
        <pc:spChg chg="mod">
          <ac:chgData name="Florian Faller" userId="4e496f4204a626e3" providerId="LiveId" clId="{9A21812C-E53D-4018-A66F-CEBBCC2D158E}" dt="2025-04-23T06:17:32.229" v="800" actId="207"/>
          <ac:spMkLst>
            <pc:docMk/>
            <pc:sldMk cId="3118908034" sldId="290"/>
            <ac:spMk id="27" creationId="{5560A89D-C00B-46B1-F2D1-74802D474874}"/>
          </ac:spMkLst>
        </pc:spChg>
        <pc:spChg chg="mod">
          <ac:chgData name="Florian Faller" userId="4e496f4204a626e3" providerId="LiveId" clId="{9A21812C-E53D-4018-A66F-CEBBCC2D158E}" dt="2025-04-23T06:15:39.368" v="768" actId="6549"/>
          <ac:spMkLst>
            <pc:docMk/>
            <pc:sldMk cId="3118908034" sldId="290"/>
            <ac:spMk id="34" creationId="{C50B9721-6F4C-08FB-8790-053527EC7859}"/>
          </ac:spMkLst>
        </pc:spChg>
        <pc:graphicFrameChg chg="add mod ord modVis">
          <ac:chgData name="Florian Faller" userId="4e496f4204a626e3" providerId="LiveId" clId="{9A21812C-E53D-4018-A66F-CEBBCC2D158E}" dt="2025-04-23T06:15:39.394" v="770"/>
          <ac:graphicFrameMkLst>
            <pc:docMk/>
            <pc:sldMk cId="3118908034" sldId="290"/>
            <ac:graphicFrameMk id="7" creationId="{4A2E1768-B24A-1B63-0CF8-A23A69DFB8B7}"/>
          </ac:graphicFrameMkLst>
        </pc:graphicFrameChg>
      </pc:sldChg>
      <pc:sldChg chg="modSp add del mod ord modShow modNotesTx">
        <pc:chgData name="Florian Faller" userId="4e496f4204a626e3" providerId="LiveId" clId="{9A21812C-E53D-4018-A66F-CEBBCC2D158E}" dt="2025-04-24T09:49:14.149" v="16454" actId="47"/>
        <pc:sldMkLst>
          <pc:docMk/>
          <pc:sldMk cId="2581491301" sldId="291"/>
        </pc:sldMkLst>
        <pc:spChg chg="mod">
          <ac:chgData name="Florian Faller" userId="4e496f4204a626e3" providerId="LiveId" clId="{9A21812C-E53D-4018-A66F-CEBBCC2D158E}" dt="2025-04-23T06:20:21.420" v="860" actId="1035"/>
          <ac:spMkLst>
            <pc:docMk/>
            <pc:sldMk cId="2581491301" sldId="291"/>
            <ac:spMk id="27" creationId="{D7748256-DD02-F5D3-5E10-25B1E2A16C2D}"/>
          </ac:spMkLst>
        </pc:spChg>
        <pc:spChg chg="mod">
          <ac:chgData name="Florian Faller" userId="4e496f4204a626e3" providerId="LiveId" clId="{9A21812C-E53D-4018-A66F-CEBBCC2D158E}" dt="2025-04-23T06:19:01.713" v="856" actId="1038"/>
          <ac:spMkLst>
            <pc:docMk/>
            <pc:sldMk cId="2581491301" sldId="291"/>
            <ac:spMk id="43" creationId="{AAAE3E4D-20D6-2BA6-5C0E-9B403E2CAF0D}"/>
          </ac:spMkLst>
        </pc:spChg>
        <pc:spChg chg="mod">
          <ac:chgData name="Florian Faller" userId="4e496f4204a626e3" providerId="LiveId" clId="{9A21812C-E53D-4018-A66F-CEBBCC2D158E}" dt="2025-04-23T06:19:01.713" v="856" actId="1038"/>
          <ac:spMkLst>
            <pc:docMk/>
            <pc:sldMk cId="2581491301" sldId="291"/>
            <ac:spMk id="44" creationId="{C10E9020-E98C-23F8-6143-D7B93D066F3E}"/>
          </ac:spMkLst>
        </pc:spChg>
        <pc:spChg chg="mod">
          <ac:chgData name="Florian Faller" userId="4e496f4204a626e3" providerId="LiveId" clId="{9A21812C-E53D-4018-A66F-CEBBCC2D158E}" dt="2025-04-23T06:19:01.713" v="856" actId="1038"/>
          <ac:spMkLst>
            <pc:docMk/>
            <pc:sldMk cId="2581491301" sldId="291"/>
            <ac:spMk id="45" creationId="{90A8F560-62BE-7AF3-59FA-124F1E5BDFE2}"/>
          </ac:spMkLst>
        </pc:spChg>
        <pc:picChg chg="mod">
          <ac:chgData name="Florian Faller" userId="4e496f4204a626e3" providerId="LiveId" clId="{9A21812C-E53D-4018-A66F-CEBBCC2D158E}" dt="2025-04-23T06:18:54.640" v="848" actId="1035"/>
          <ac:picMkLst>
            <pc:docMk/>
            <pc:sldMk cId="2581491301" sldId="291"/>
            <ac:picMk id="22" creationId="{B523093F-7573-C519-3B61-E2534D42ABE3}"/>
          </ac:picMkLst>
        </pc:picChg>
        <pc:picChg chg="mod">
          <ac:chgData name="Florian Faller" userId="4e496f4204a626e3" providerId="LiveId" clId="{9A21812C-E53D-4018-A66F-CEBBCC2D158E}" dt="2025-04-23T06:18:54.640" v="848" actId="1035"/>
          <ac:picMkLst>
            <pc:docMk/>
            <pc:sldMk cId="2581491301" sldId="291"/>
            <ac:picMk id="24" creationId="{8229BE94-A4AE-7D2A-40B5-B4C743244432}"/>
          </ac:picMkLst>
        </pc:picChg>
        <pc:picChg chg="mod">
          <ac:chgData name="Florian Faller" userId="4e496f4204a626e3" providerId="LiveId" clId="{9A21812C-E53D-4018-A66F-CEBBCC2D158E}" dt="2025-04-23T06:19:01.713" v="856" actId="1038"/>
          <ac:picMkLst>
            <pc:docMk/>
            <pc:sldMk cId="2581491301" sldId="291"/>
            <ac:picMk id="38" creationId="{4A8841C7-9BED-D9C9-2D15-C1701E3B47E8}"/>
          </ac:picMkLst>
        </pc:picChg>
        <pc:picChg chg="mod">
          <ac:chgData name="Florian Faller" userId="4e496f4204a626e3" providerId="LiveId" clId="{9A21812C-E53D-4018-A66F-CEBBCC2D158E}" dt="2025-04-23T06:19:01.713" v="856" actId="1038"/>
          <ac:picMkLst>
            <pc:docMk/>
            <pc:sldMk cId="2581491301" sldId="291"/>
            <ac:picMk id="47" creationId="{C80B6AE2-642A-75D6-1E17-BDFB3490E8E2}"/>
          </ac:picMkLst>
        </pc:picChg>
        <pc:picChg chg="mod">
          <ac:chgData name="Florian Faller" userId="4e496f4204a626e3" providerId="LiveId" clId="{9A21812C-E53D-4018-A66F-CEBBCC2D158E}" dt="2025-04-23T06:19:01.713" v="856" actId="1038"/>
          <ac:picMkLst>
            <pc:docMk/>
            <pc:sldMk cId="2581491301" sldId="291"/>
            <ac:picMk id="49" creationId="{E3FF0190-A0A1-9A4A-0AC5-0B4145EB4E67}"/>
          </ac:picMkLst>
        </pc:picChg>
        <pc:picChg chg="mod">
          <ac:chgData name="Florian Faller" userId="4e496f4204a626e3" providerId="LiveId" clId="{9A21812C-E53D-4018-A66F-CEBBCC2D158E}" dt="2025-04-23T06:18:54.640" v="848" actId="1035"/>
          <ac:picMkLst>
            <pc:docMk/>
            <pc:sldMk cId="2581491301" sldId="291"/>
            <ac:picMk id="4102" creationId="{0D92F7C0-2CFE-643F-5A18-562D6923B106}"/>
          </ac:picMkLst>
        </pc:picChg>
        <pc:picChg chg="mod">
          <ac:chgData name="Florian Faller" userId="4e496f4204a626e3" providerId="LiveId" clId="{9A21812C-E53D-4018-A66F-CEBBCC2D158E}" dt="2025-04-23T06:18:54.640" v="848" actId="1035"/>
          <ac:picMkLst>
            <pc:docMk/>
            <pc:sldMk cId="2581491301" sldId="291"/>
            <ac:picMk id="4104" creationId="{EFB1E475-0297-7DF6-8D19-341E86E8B8C6}"/>
          </ac:picMkLst>
        </pc:picChg>
      </pc:sldChg>
      <pc:sldChg chg="addSp delSp modSp add del mod">
        <pc:chgData name="Florian Faller" userId="4e496f4204a626e3" providerId="LiveId" clId="{9A21812C-E53D-4018-A66F-CEBBCC2D158E}" dt="2025-04-23T06:18:07" v="831" actId="47"/>
        <pc:sldMkLst>
          <pc:docMk/>
          <pc:sldMk cId="3087744077" sldId="291"/>
        </pc:sldMkLst>
        <pc:spChg chg="mod">
          <ac:chgData name="Florian Faller" userId="4e496f4204a626e3" providerId="LiveId" clId="{9A21812C-E53D-4018-A66F-CEBBCC2D158E}" dt="2025-04-23T06:18:00.674" v="830" actId="692"/>
          <ac:spMkLst>
            <pc:docMk/>
            <pc:sldMk cId="3087744077" sldId="291"/>
            <ac:spMk id="2" creationId="{A3954268-0637-15C0-55C3-C9D9E8F1928F}"/>
          </ac:spMkLst>
        </pc:spChg>
        <pc:spChg chg="add del mod modVis">
          <ac:chgData name="Florian Faller" userId="4e496f4204a626e3" providerId="LiveId" clId="{9A21812C-E53D-4018-A66F-CEBBCC2D158E}" dt="2025-04-23T06:17:54.907" v="827"/>
          <ac:spMkLst>
            <pc:docMk/>
            <pc:sldMk cId="3087744077" sldId="291"/>
            <ac:spMk id="6" creationId="{410656AD-E51B-6357-C85B-730728708636}"/>
          </ac:spMkLst>
        </pc:spChg>
        <pc:spChg chg="mod">
          <ac:chgData name="Florian Faller" userId="4e496f4204a626e3" providerId="LiveId" clId="{9A21812C-E53D-4018-A66F-CEBBCC2D158E}" dt="2025-04-23T06:17:54.795" v="803" actId="948"/>
          <ac:spMkLst>
            <pc:docMk/>
            <pc:sldMk cId="3087744077" sldId="291"/>
            <ac:spMk id="34" creationId="{B9F80FDA-E4AB-52AA-A21C-48F6A141E09F}"/>
          </ac:spMkLst>
        </pc:spChg>
        <pc:graphicFrameChg chg="mod">
          <ac:chgData name="Florian Faller" userId="4e496f4204a626e3" providerId="LiveId" clId="{9A21812C-E53D-4018-A66F-CEBBCC2D158E}" dt="2025-04-23T06:17:54.917" v="829"/>
          <ac:graphicFrameMkLst>
            <pc:docMk/>
            <pc:sldMk cId="3087744077" sldId="291"/>
            <ac:graphicFrameMk id="7" creationId="{C5D691F1-63CF-E5F1-8576-0AD8DCD33FD3}"/>
          </ac:graphicFrameMkLst>
        </pc:graphicFrameChg>
      </pc:sldChg>
      <pc:sldChg chg="addSp delSp modSp new del mod ord">
        <pc:chgData name="Florian Faller" userId="4e496f4204a626e3" providerId="LiveId" clId="{9A21812C-E53D-4018-A66F-CEBBCC2D158E}" dt="2025-04-23T11:49:37.815" v="4395" actId="47"/>
        <pc:sldMkLst>
          <pc:docMk/>
          <pc:sldMk cId="231550193" sldId="292"/>
        </pc:sldMkLst>
        <pc:spChg chg="del">
          <ac:chgData name="Florian Faller" userId="4e496f4204a626e3" providerId="LiveId" clId="{9A21812C-E53D-4018-A66F-CEBBCC2D158E}" dt="2025-04-23T08:24:45.554" v="1076" actId="478"/>
          <ac:spMkLst>
            <pc:docMk/>
            <pc:sldMk cId="231550193" sldId="292"/>
            <ac:spMk id="2" creationId="{BA45C683-5CB1-5213-0ED5-37ED2A028DFA}"/>
          </ac:spMkLst>
        </pc:spChg>
        <pc:spChg chg="del">
          <ac:chgData name="Florian Faller" userId="4e496f4204a626e3" providerId="LiveId" clId="{9A21812C-E53D-4018-A66F-CEBBCC2D158E}" dt="2025-04-23T08:24:45.554" v="1076" actId="478"/>
          <ac:spMkLst>
            <pc:docMk/>
            <pc:sldMk cId="231550193" sldId="292"/>
            <ac:spMk id="3" creationId="{638C3F57-AFAF-AA51-9F46-E51C74A6700C}"/>
          </ac:spMkLst>
        </pc:spChg>
        <pc:spChg chg="add mod">
          <ac:chgData name="Florian Faller" userId="4e496f4204a626e3" providerId="LiveId" clId="{9A21812C-E53D-4018-A66F-CEBBCC2D158E}" dt="2025-04-23T09:23:01.477" v="1711" actId="120"/>
          <ac:spMkLst>
            <pc:docMk/>
            <pc:sldMk cId="231550193" sldId="292"/>
            <ac:spMk id="5" creationId="{42B896E6-0D14-F694-DDC9-0124892C16F3}"/>
          </ac:spMkLst>
        </pc:spChg>
        <pc:spChg chg="add mod">
          <ac:chgData name="Florian Faller" userId="4e496f4204a626e3" providerId="LiveId" clId="{9A21812C-E53D-4018-A66F-CEBBCC2D158E}" dt="2025-04-23T09:23:00.143" v="1710" actId="120"/>
          <ac:spMkLst>
            <pc:docMk/>
            <pc:sldMk cId="231550193" sldId="292"/>
            <ac:spMk id="6" creationId="{C84511C2-0F94-29AB-8EAD-B5C10CF8096B}"/>
          </ac:spMkLst>
        </pc:spChg>
        <pc:spChg chg="add mod">
          <ac:chgData name="Florian Faller" userId="4e496f4204a626e3" providerId="LiveId" clId="{9A21812C-E53D-4018-A66F-CEBBCC2D158E}" dt="2025-04-23T08:35:33.152" v="1383" actId="1076"/>
          <ac:spMkLst>
            <pc:docMk/>
            <pc:sldMk cId="231550193" sldId="292"/>
            <ac:spMk id="7" creationId="{0BA81B75-1783-F997-1A7C-92F82D6A84AF}"/>
          </ac:spMkLst>
        </pc:spChg>
        <pc:spChg chg="add mod">
          <ac:chgData name="Florian Faller" userId="4e496f4204a626e3" providerId="LiveId" clId="{9A21812C-E53D-4018-A66F-CEBBCC2D158E}" dt="2025-04-23T08:25:35.415" v="1190" actId="571"/>
          <ac:spMkLst>
            <pc:docMk/>
            <pc:sldMk cId="231550193" sldId="292"/>
            <ac:spMk id="8" creationId="{227C4BA6-C3F2-74B1-CAE7-1270156E4D1D}"/>
          </ac:spMkLst>
        </pc:spChg>
        <pc:spChg chg="add mod topLvl">
          <ac:chgData name="Florian Faller" userId="4e496f4204a626e3" providerId="LiveId" clId="{9A21812C-E53D-4018-A66F-CEBBCC2D158E}" dt="2025-04-23T09:23:01.477" v="1711" actId="120"/>
          <ac:spMkLst>
            <pc:docMk/>
            <pc:sldMk cId="231550193" sldId="292"/>
            <ac:spMk id="9" creationId="{6DF342CD-1C33-A06D-033C-B868E7E414FC}"/>
          </ac:spMkLst>
        </pc:spChg>
        <pc:spChg chg="add mod topLvl">
          <ac:chgData name="Florian Faller" userId="4e496f4204a626e3" providerId="LiveId" clId="{9A21812C-E53D-4018-A66F-CEBBCC2D158E}" dt="2025-04-23T09:23:00.143" v="1710" actId="120"/>
          <ac:spMkLst>
            <pc:docMk/>
            <pc:sldMk cId="231550193" sldId="292"/>
            <ac:spMk id="10" creationId="{E72C26F5-8813-5FC7-C711-D31D9763272B}"/>
          </ac:spMkLst>
        </pc:spChg>
        <pc:spChg chg="add mod">
          <ac:chgData name="Florian Faller" userId="4e496f4204a626e3" providerId="LiveId" clId="{9A21812C-E53D-4018-A66F-CEBBCC2D158E}" dt="2025-04-23T09:23:01.477" v="1711" actId="120"/>
          <ac:spMkLst>
            <pc:docMk/>
            <pc:sldMk cId="231550193" sldId="292"/>
            <ac:spMk id="11" creationId="{1A93714E-9A77-DF69-0DB5-CD0ED986E5EB}"/>
          </ac:spMkLst>
        </pc:spChg>
        <pc:spChg chg="add del mod">
          <ac:chgData name="Florian Faller" userId="4e496f4204a626e3" providerId="LiveId" clId="{9A21812C-E53D-4018-A66F-CEBBCC2D158E}" dt="2025-04-23T08:35:29.424" v="1382" actId="478"/>
          <ac:spMkLst>
            <pc:docMk/>
            <pc:sldMk cId="231550193" sldId="292"/>
            <ac:spMk id="12" creationId="{2FCBB054-13B0-1896-3C7B-E4673A83E784}"/>
          </ac:spMkLst>
        </pc:spChg>
        <pc:spChg chg="add mod topLvl">
          <ac:chgData name="Florian Faller" userId="4e496f4204a626e3" providerId="LiveId" clId="{9A21812C-E53D-4018-A66F-CEBBCC2D158E}" dt="2025-04-23T09:23:01.477" v="1711" actId="120"/>
          <ac:spMkLst>
            <pc:docMk/>
            <pc:sldMk cId="231550193" sldId="292"/>
            <ac:spMk id="13" creationId="{15A2CCC4-C4D3-4D80-15D8-B493CCD82A4D}"/>
          </ac:spMkLst>
        </pc:spChg>
        <pc:spChg chg="add mod topLvl">
          <ac:chgData name="Florian Faller" userId="4e496f4204a626e3" providerId="LiveId" clId="{9A21812C-E53D-4018-A66F-CEBBCC2D158E}" dt="2025-04-23T09:23:01.477" v="1711" actId="120"/>
          <ac:spMkLst>
            <pc:docMk/>
            <pc:sldMk cId="231550193" sldId="292"/>
            <ac:spMk id="14" creationId="{F72D5375-20CE-F17D-50C1-9DF7C3932587}"/>
          </ac:spMkLst>
        </pc:spChg>
        <pc:spChg chg="add mod topLvl">
          <ac:chgData name="Florian Faller" userId="4e496f4204a626e3" providerId="LiveId" clId="{9A21812C-E53D-4018-A66F-CEBBCC2D158E}" dt="2025-04-23T09:23:01.477" v="1711" actId="120"/>
          <ac:spMkLst>
            <pc:docMk/>
            <pc:sldMk cId="231550193" sldId="292"/>
            <ac:spMk id="15" creationId="{F0F4AA71-05B6-7C94-C654-041C9A4BF980}"/>
          </ac:spMkLst>
        </pc:spChg>
        <pc:spChg chg="add mod topLvl">
          <ac:chgData name="Florian Faller" userId="4e496f4204a626e3" providerId="LiveId" clId="{9A21812C-E53D-4018-A66F-CEBBCC2D158E}" dt="2025-04-23T09:23:00.143" v="1710" actId="120"/>
          <ac:spMkLst>
            <pc:docMk/>
            <pc:sldMk cId="231550193" sldId="292"/>
            <ac:spMk id="16" creationId="{690F183F-C5C2-19FD-B867-4F876FDC8952}"/>
          </ac:spMkLst>
        </pc:spChg>
        <pc:spChg chg="add mod topLvl">
          <ac:chgData name="Florian Faller" userId="4e496f4204a626e3" providerId="LiveId" clId="{9A21812C-E53D-4018-A66F-CEBBCC2D158E}" dt="2025-04-23T09:23:00.143" v="1710" actId="120"/>
          <ac:spMkLst>
            <pc:docMk/>
            <pc:sldMk cId="231550193" sldId="292"/>
            <ac:spMk id="17" creationId="{9585F34C-D563-8461-3650-F7E56159D4A1}"/>
          </ac:spMkLst>
        </pc:spChg>
        <pc:spChg chg="add mod topLvl">
          <ac:chgData name="Florian Faller" userId="4e496f4204a626e3" providerId="LiveId" clId="{9A21812C-E53D-4018-A66F-CEBBCC2D158E}" dt="2025-04-23T08:35:24.444" v="1381"/>
          <ac:spMkLst>
            <pc:docMk/>
            <pc:sldMk cId="231550193" sldId="292"/>
            <ac:spMk id="18" creationId="{2EFF634A-2229-D900-04E6-1E58E71BB025}"/>
          </ac:spMkLst>
        </pc:spChg>
        <pc:spChg chg="add mod topLvl">
          <ac:chgData name="Florian Faller" userId="4e496f4204a626e3" providerId="LiveId" clId="{9A21812C-E53D-4018-A66F-CEBBCC2D158E}" dt="2025-04-23T09:23:01.477" v="1711" actId="120"/>
          <ac:spMkLst>
            <pc:docMk/>
            <pc:sldMk cId="231550193" sldId="292"/>
            <ac:spMk id="19" creationId="{F84A793B-9E10-355B-0F23-80C73E69AEAD}"/>
          </ac:spMkLst>
        </pc:spChg>
        <pc:spChg chg="add del mod">
          <ac:chgData name="Florian Faller" userId="4e496f4204a626e3" providerId="LiveId" clId="{9A21812C-E53D-4018-A66F-CEBBCC2D158E}" dt="2025-04-23T08:27:24.106" v="1241" actId="478"/>
          <ac:spMkLst>
            <pc:docMk/>
            <pc:sldMk cId="231550193" sldId="292"/>
            <ac:spMk id="21" creationId="{1D8DC1C7-8CC4-4C18-AA59-767CE35D1F77}"/>
          </ac:spMkLst>
        </pc:spChg>
        <pc:spChg chg="add del mod">
          <ac:chgData name="Florian Faller" userId="4e496f4204a626e3" providerId="LiveId" clId="{9A21812C-E53D-4018-A66F-CEBBCC2D158E}" dt="2025-04-23T08:35:29.424" v="1382" actId="478"/>
          <ac:spMkLst>
            <pc:docMk/>
            <pc:sldMk cId="231550193" sldId="292"/>
            <ac:spMk id="22" creationId="{0A8E4434-D34D-629A-5429-D0F8CD28104A}"/>
          </ac:spMkLst>
        </pc:spChg>
        <pc:spChg chg="add del mod">
          <ac:chgData name="Florian Faller" userId="4e496f4204a626e3" providerId="LiveId" clId="{9A21812C-E53D-4018-A66F-CEBBCC2D158E}" dt="2025-04-23T08:35:29.424" v="1382" actId="478"/>
          <ac:spMkLst>
            <pc:docMk/>
            <pc:sldMk cId="231550193" sldId="292"/>
            <ac:spMk id="23" creationId="{005F9918-010B-6F49-BD05-C2DC7F32BD9A}"/>
          </ac:spMkLst>
        </pc:spChg>
        <pc:spChg chg="add mod">
          <ac:chgData name="Florian Faller" userId="4e496f4204a626e3" providerId="LiveId" clId="{9A21812C-E53D-4018-A66F-CEBBCC2D158E}" dt="2025-04-23T09:23:01.477" v="1711" actId="120"/>
          <ac:spMkLst>
            <pc:docMk/>
            <pc:sldMk cId="231550193" sldId="292"/>
            <ac:spMk id="24" creationId="{4274CB36-62FA-64F2-BACB-74D5855AD353}"/>
          </ac:spMkLst>
        </pc:spChg>
        <pc:spChg chg="add mod">
          <ac:chgData name="Florian Faller" userId="4e496f4204a626e3" providerId="LiveId" clId="{9A21812C-E53D-4018-A66F-CEBBCC2D158E}" dt="2025-04-23T09:23:01.477" v="1711" actId="120"/>
          <ac:spMkLst>
            <pc:docMk/>
            <pc:sldMk cId="231550193" sldId="292"/>
            <ac:spMk id="25" creationId="{A061733B-B00B-FF2D-0D4D-D1A8D2BCE063}"/>
          </ac:spMkLst>
        </pc:spChg>
        <pc:spChg chg="add mod">
          <ac:chgData name="Florian Faller" userId="4e496f4204a626e3" providerId="LiveId" clId="{9A21812C-E53D-4018-A66F-CEBBCC2D158E}" dt="2025-04-23T09:33:04.498" v="1895" actId="14100"/>
          <ac:spMkLst>
            <pc:docMk/>
            <pc:sldMk cId="231550193" sldId="292"/>
            <ac:spMk id="26" creationId="{A860583F-B0FF-4004-65B8-728DC20179EF}"/>
          </ac:spMkLst>
        </pc:spChg>
        <pc:grpChg chg="add del mod">
          <ac:chgData name="Florian Faller" userId="4e496f4204a626e3" providerId="LiveId" clId="{9A21812C-E53D-4018-A66F-CEBBCC2D158E}" dt="2025-04-23T08:26:54.279" v="1237" actId="165"/>
          <ac:grpSpMkLst>
            <pc:docMk/>
            <pc:sldMk cId="231550193" sldId="292"/>
            <ac:grpSpMk id="20" creationId="{51AE9A43-C5BE-53E4-2087-609ECE9A8E1E}"/>
          </ac:grpSpMkLst>
        </pc:grpChg>
        <pc:graphicFrameChg chg="add mod modVis">
          <ac:chgData name="Florian Faller" userId="4e496f4204a626e3" providerId="LiveId" clId="{9A21812C-E53D-4018-A66F-CEBBCC2D158E}" dt="2025-04-23T08:24:46.247" v="1088"/>
          <ac:graphicFrameMkLst>
            <pc:docMk/>
            <pc:sldMk cId="231550193" sldId="292"/>
            <ac:graphicFrameMk id="4" creationId="{78C6C4E6-CDC9-289A-52FA-140F5F1A8BB3}"/>
          </ac:graphicFrameMkLst>
        </pc:graphicFrameChg>
      </pc:sldChg>
      <pc:sldChg chg="addSp delSp modSp new del mod ord modShow">
        <pc:chgData name="Florian Faller" userId="4e496f4204a626e3" providerId="LiveId" clId="{9A21812C-E53D-4018-A66F-CEBBCC2D158E}" dt="2025-04-24T09:49:14.149" v="16454" actId="47"/>
        <pc:sldMkLst>
          <pc:docMk/>
          <pc:sldMk cId="1494227697" sldId="293"/>
        </pc:sldMkLst>
        <pc:spChg chg="del">
          <ac:chgData name="Florian Faller" userId="4e496f4204a626e3" providerId="LiveId" clId="{9A21812C-E53D-4018-A66F-CEBBCC2D158E}" dt="2025-04-23T09:55:27.528" v="1897" actId="478"/>
          <ac:spMkLst>
            <pc:docMk/>
            <pc:sldMk cId="1494227697" sldId="293"/>
            <ac:spMk id="5" creationId="{4F449BDF-228B-53C6-531C-C887B768FE09}"/>
          </ac:spMkLst>
        </pc:spChg>
        <pc:spChg chg="del">
          <ac:chgData name="Florian Faller" userId="4e496f4204a626e3" providerId="LiveId" clId="{9A21812C-E53D-4018-A66F-CEBBCC2D158E}" dt="2025-04-23T09:55:27.528" v="1897" actId="478"/>
          <ac:spMkLst>
            <pc:docMk/>
            <pc:sldMk cId="1494227697" sldId="293"/>
            <ac:spMk id="6" creationId="{DF71C501-D410-441D-A3CB-A08C5D295D23}"/>
          </ac:spMkLst>
        </pc:spChg>
        <pc:spChg chg="del">
          <ac:chgData name="Florian Faller" userId="4e496f4204a626e3" providerId="LiveId" clId="{9A21812C-E53D-4018-A66F-CEBBCC2D158E}" dt="2025-04-23T09:55:27.528" v="1897" actId="478"/>
          <ac:spMkLst>
            <pc:docMk/>
            <pc:sldMk cId="1494227697" sldId="293"/>
            <ac:spMk id="7" creationId="{23891E1E-5DB0-7696-09CD-F6C0DA504B1F}"/>
          </ac:spMkLst>
        </pc:spChg>
        <pc:spChg chg="del">
          <ac:chgData name="Florian Faller" userId="4e496f4204a626e3" providerId="LiveId" clId="{9A21812C-E53D-4018-A66F-CEBBCC2D158E}" dt="2025-04-23T09:55:27.528" v="1897" actId="478"/>
          <ac:spMkLst>
            <pc:docMk/>
            <pc:sldMk cId="1494227697" sldId="293"/>
            <ac:spMk id="8" creationId="{1D829B1E-6E88-B3D6-11B8-A84623B6DBF9}"/>
          </ac:spMkLst>
        </pc:spChg>
        <pc:spChg chg="mod">
          <ac:chgData name="Florian Faller" userId="4e496f4204a626e3" providerId="LiveId" clId="{9A21812C-E53D-4018-A66F-CEBBCC2D158E}" dt="2025-04-23T10:11:30.991" v="2922" actId="20577"/>
          <ac:spMkLst>
            <pc:docMk/>
            <pc:sldMk cId="1494227697" sldId="293"/>
            <ac:spMk id="8" creationId="{E777FC32-DC99-453C-E3E9-0543CAA5192A}"/>
          </ac:spMkLst>
        </pc:spChg>
        <pc:spChg chg="del">
          <ac:chgData name="Florian Faller" userId="4e496f4204a626e3" providerId="LiveId" clId="{9A21812C-E53D-4018-A66F-CEBBCC2D158E}" dt="2025-04-23T09:55:27.528" v="1897" actId="478"/>
          <ac:spMkLst>
            <pc:docMk/>
            <pc:sldMk cId="1494227697" sldId="293"/>
            <ac:spMk id="9" creationId="{183E3DD5-95C0-D800-1E39-A1FDAE1D6B8F}"/>
          </ac:spMkLst>
        </pc:spChg>
        <pc:spChg chg="mod">
          <ac:chgData name="Florian Faller" userId="4e496f4204a626e3" providerId="LiveId" clId="{9A21812C-E53D-4018-A66F-CEBBCC2D158E}" dt="2025-04-23T10:11:20.363" v="2919" actId="947"/>
          <ac:spMkLst>
            <pc:docMk/>
            <pc:sldMk cId="1494227697" sldId="293"/>
            <ac:spMk id="9" creationId="{41C6DE4C-05CD-2F47-A8CD-D987693FED74}"/>
          </ac:spMkLst>
        </pc:spChg>
        <pc:spChg chg="del">
          <ac:chgData name="Florian Faller" userId="4e496f4204a626e3" providerId="LiveId" clId="{9A21812C-E53D-4018-A66F-CEBBCC2D158E}" dt="2025-04-23T09:55:27.528" v="1897" actId="478"/>
          <ac:spMkLst>
            <pc:docMk/>
            <pc:sldMk cId="1494227697" sldId="293"/>
            <ac:spMk id="10" creationId="{430559FF-FF83-49C5-8116-ABBF8E46BC59}"/>
          </ac:spMkLst>
        </pc:spChg>
        <pc:spChg chg="mod">
          <ac:chgData name="Florian Faller" userId="4e496f4204a626e3" providerId="LiveId" clId="{9A21812C-E53D-4018-A66F-CEBBCC2D158E}" dt="2025-04-23T10:11:33.240" v="2924"/>
          <ac:spMkLst>
            <pc:docMk/>
            <pc:sldMk cId="1494227697" sldId="293"/>
            <ac:spMk id="10" creationId="{8731F55E-16D8-4825-9C28-7F59B62D9655}"/>
          </ac:spMkLst>
        </pc:spChg>
        <pc:spChg chg="del">
          <ac:chgData name="Florian Faller" userId="4e496f4204a626e3" providerId="LiveId" clId="{9A21812C-E53D-4018-A66F-CEBBCC2D158E}" dt="2025-04-23T09:55:27.528" v="1897" actId="478"/>
          <ac:spMkLst>
            <pc:docMk/>
            <pc:sldMk cId="1494227697" sldId="293"/>
            <ac:spMk id="11" creationId="{E108E00F-2B5B-048B-C29B-E7E2A3367D5E}"/>
          </ac:spMkLst>
        </pc:spChg>
        <pc:spChg chg="del">
          <ac:chgData name="Florian Faller" userId="4e496f4204a626e3" providerId="LiveId" clId="{9A21812C-E53D-4018-A66F-CEBBCC2D158E}" dt="2025-04-23T09:55:27.528" v="1897" actId="478"/>
          <ac:spMkLst>
            <pc:docMk/>
            <pc:sldMk cId="1494227697" sldId="293"/>
            <ac:spMk id="12" creationId="{8A862380-83B1-256F-F0F3-68AB9A593B69}"/>
          </ac:spMkLst>
        </pc:spChg>
        <pc:spChg chg="add mod">
          <ac:chgData name="Florian Faller" userId="4e496f4204a626e3" providerId="LiveId" clId="{9A21812C-E53D-4018-A66F-CEBBCC2D158E}" dt="2025-04-23T10:01:33.986" v="1973" actId="948"/>
          <ac:spMkLst>
            <pc:docMk/>
            <pc:sldMk cId="1494227697" sldId="293"/>
            <ac:spMk id="14" creationId="{43A50531-1002-755D-073F-D802B9508A80}"/>
          </ac:spMkLst>
        </pc:spChg>
        <pc:spChg chg="add mod">
          <ac:chgData name="Florian Faller" userId="4e496f4204a626e3" providerId="LiveId" clId="{9A21812C-E53D-4018-A66F-CEBBCC2D158E}" dt="2025-04-23T10:01:35.076" v="2000" actId="20577"/>
          <ac:spMkLst>
            <pc:docMk/>
            <pc:sldMk cId="1494227697" sldId="293"/>
            <ac:spMk id="15" creationId="{0A3DF163-D096-D85B-1E8A-F0E94AD3488B}"/>
          </ac:spMkLst>
        </pc:spChg>
        <pc:spChg chg="add del mod modVis">
          <ac:chgData name="Florian Faller" userId="4e496f4204a626e3" providerId="LiveId" clId="{9A21812C-E53D-4018-A66F-CEBBCC2D158E}" dt="2025-04-23T10:01:33.448" v="1969"/>
          <ac:spMkLst>
            <pc:docMk/>
            <pc:sldMk cId="1494227697" sldId="293"/>
            <ac:spMk id="16" creationId="{F7F4B90D-9163-84CC-2E44-0D59470A8912}"/>
          </ac:spMkLst>
        </pc:spChg>
        <pc:spChg chg="add del mod modVis">
          <ac:chgData name="Florian Faller" userId="4e496f4204a626e3" providerId="LiveId" clId="{9A21812C-E53D-4018-A66F-CEBBCC2D158E}" dt="2025-04-23T10:01:34.051" v="1997"/>
          <ac:spMkLst>
            <pc:docMk/>
            <pc:sldMk cId="1494227697" sldId="293"/>
            <ac:spMk id="17" creationId="{D1F7B10D-6400-721B-1C4F-0D7F48890BD7}"/>
          </ac:spMkLst>
        </pc:spChg>
        <pc:graphicFrameChg chg="add mod ord modVis">
          <ac:chgData name="Florian Faller" userId="4e496f4204a626e3" providerId="LiveId" clId="{9A21812C-E53D-4018-A66F-CEBBCC2D158E}" dt="2025-04-23T10:01:34.056" v="1999"/>
          <ac:graphicFrameMkLst>
            <pc:docMk/>
            <pc:sldMk cId="1494227697" sldId="293"/>
            <ac:graphicFrameMk id="13" creationId="{4D75453E-660C-FB2B-23C3-EA4CBC103B76}"/>
          </ac:graphicFrameMkLst>
        </pc:graphicFrameChg>
      </pc:sldChg>
      <pc:sldChg chg="addSp delSp modSp add del mod ord modShow">
        <pc:chgData name="Florian Faller" userId="4e496f4204a626e3" providerId="LiveId" clId="{9A21812C-E53D-4018-A66F-CEBBCC2D158E}" dt="2025-04-24T09:49:14.149" v="16454" actId="47"/>
        <pc:sldMkLst>
          <pc:docMk/>
          <pc:sldMk cId="3053838412" sldId="294"/>
        </pc:sldMkLst>
        <pc:spChg chg="add mod">
          <ac:chgData name="Florian Faller" userId="4e496f4204a626e3" providerId="LiveId" clId="{9A21812C-E53D-4018-A66F-CEBBCC2D158E}" dt="2025-04-23T10:01:41.327" v="2033" actId="948"/>
          <ac:spMkLst>
            <pc:docMk/>
            <pc:sldMk cId="3053838412" sldId="294"/>
            <ac:spMk id="5" creationId="{E807260D-D4DD-0F06-5B6A-73A248B4F2EA}"/>
          </ac:spMkLst>
        </pc:spChg>
        <pc:spChg chg="add mod">
          <ac:chgData name="Florian Faller" userId="4e496f4204a626e3" providerId="LiveId" clId="{9A21812C-E53D-4018-A66F-CEBBCC2D158E}" dt="2025-04-23T10:01:37.537" v="2001"/>
          <ac:spMkLst>
            <pc:docMk/>
            <pc:sldMk cId="3053838412" sldId="294"/>
            <ac:spMk id="6" creationId="{7CF2C43F-BEEC-2D40-B75E-3192E9F9FA0E}"/>
          </ac:spMkLst>
        </pc:spChg>
        <pc:spChg chg="add del mod modVis">
          <ac:chgData name="Florian Faller" userId="4e496f4204a626e3" providerId="LiveId" clId="{9A21812C-E53D-4018-A66F-CEBBCC2D158E}" dt="2025-04-23T10:01:40.742" v="2029"/>
          <ac:spMkLst>
            <pc:docMk/>
            <pc:sldMk cId="3053838412" sldId="294"/>
            <ac:spMk id="7" creationId="{4295675C-4B10-E717-B6B2-32B49F1B1CF0}"/>
          </ac:spMkLst>
        </pc:spChg>
        <pc:spChg chg="add del mod modVis">
          <ac:chgData name="Florian Faller" userId="4e496f4204a626e3" providerId="LiveId" clId="{9A21812C-E53D-4018-A66F-CEBBCC2D158E}" dt="2025-04-23T10:01:41.391" v="2057"/>
          <ac:spMkLst>
            <pc:docMk/>
            <pc:sldMk cId="3053838412" sldId="294"/>
            <ac:spMk id="8" creationId="{D513C18E-0492-DF79-0237-837553756C9E}"/>
          </ac:spMkLst>
        </pc:spChg>
        <pc:spChg chg="add mod">
          <ac:chgData name="Florian Faller" userId="4e496f4204a626e3" providerId="LiveId" clId="{9A21812C-E53D-4018-A66F-CEBBCC2D158E}" dt="2025-04-23T10:14:58.150" v="3254" actId="14100"/>
          <ac:spMkLst>
            <pc:docMk/>
            <pc:sldMk cId="3053838412" sldId="294"/>
            <ac:spMk id="9" creationId="{8B2AAC3A-DA3E-EDF4-FCC3-940700905FF8}"/>
          </ac:spMkLst>
        </pc:spChg>
        <pc:spChg chg="add mod">
          <ac:chgData name="Florian Faller" userId="4e496f4204a626e3" providerId="LiveId" clId="{9A21812C-E53D-4018-A66F-CEBBCC2D158E}" dt="2025-04-23T10:16:09.112" v="3408" actId="5793"/>
          <ac:spMkLst>
            <pc:docMk/>
            <pc:sldMk cId="3053838412" sldId="294"/>
            <ac:spMk id="10" creationId="{50212ED3-E0D4-8D51-C452-52C6959B1CB3}"/>
          </ac:spMkLst>
        </pc:spChg>
        <pc:spChg chg="add mod">
          <ac:chgData name="Florian Faller" userId="4e496f4204a626e3" providerId="LiveId" clId="{9A21812C-E53D-4018-A66F-CEBBCC2D158E}" dt="2025-04-23T10:16:34.294" v="3450" actId="1076"/>
          <ac:spMkLst>
            <pc:docMk/>
            <pc:sldMk cId="3053838412" sldId="294"/>
            <ac:spMk id="11" creationId="{A5C70B04-FE0B-275D-A71F-7FF67F113D09}"/>
          </ac:spMkLst>
        </pc:spChg>
        <pc:spChg chg="add mod">
          <ac:chgData name="Florian Faller" userId="4e496f4204a626e3" providerId="LiveId" clId="{9A21812C-E53D-4018-A66F-CEBBCC2D158E}" dt="2025-04-23T10:16:31.071" v="3449" actId="20577"/>
          <ac:spMkLst>
            <pc:docMk/>
            <pc:sldMk cId="3053838412" sldId="294"/>
            <ac:spMk id="12" creationId="{880B6E23-7584-0E25-D707-47C0C6DB245E}"/>
          </ac:spMkLst>
        </pc:spChg>
        <pc:graphicFrameChg chg="mod">
          <ac:chgData name="Florian Faller" userId="4e496f4204a626e3" providerId="LiveId" clId="{9A21812C-E53D-4018-A66F-CEBBCC2D158E}" dt="2025-04-23T10:01:41.391" v="2059"/>
          <ac:graphicFrameMkLst>
            <pc:docMk/>
            <pc:sldMk cId="3053838412" sldId="294"/>
            <ac:graphicFrameMk id="13" creationId="{89421C10-9A6C-A8F4-3933-7CD0C73251A1}"/>
          </ac:graphicFrameMkLst>
        </pc:graphicFrameChg>
      </pc:sldChg>
      <pc:sldChg chg="addSp delSp modSp add del mod ord modShow">
        <pc:chgData name="Florian Faller" userId="4e496f4204a626e3" providerId="LiveId" clId="{9A21812C-E53D-4018-A66F-CEBBCC2D158E}" dt="2025-04-24T09:49:14.149" v="16454" actId="47"/>
        <pc:sldMkLst>
          <pc:docMk/>
          <pc:sldMk cId="116482428" sldId="295"/>
        </pc:sldMkLst>
        <pc:spChg chg="del">
          <ac:chgData name="Florian Faller" userId="4e496f4204a626e3" providerId="LiveId" clId="{9A21812C-E53D-4018-A66F-CEBBCC2D158E}" dt="2025-04-23T10:28:37.750" v="3452" actId="478"/>
          <ac:spMkLst>
            <pc:docMk/>
            <pc:sldMk cId="116482428" sldId="295"/>
            <ac:spMk id="9" creationId="{6E4F82FE-FAAC-87A6-E44F-EBCC08F823E8}"/>
          </ac:spMkLst>
        </pc:spChg>
        <pc:spChg chg="del">
          <ac:chgData name="Florian Faller" userId="4e496f4204a626e3" providerId="LiveId" clId="{9A21812C-E53D-4018-A66F-CEBBCC2D158E}" dt="2025-04-23T10:28:37.750" v="3452" actId="478"/>
          <ac:spMkLst>
            <pc:docMk/>
            <pc:sldMk cId="116482428" sldId="295"/>
            <ac:spMk id="10" creationId="{378F3413-B1FF-B3FB-0BB0-83C7E190F865}"/>
          </ac:spMkLst>
        </pc:spChg>
        <pc:spChg chg="del">
          <ac:chgData name="Florian Faller" userId="4e496f4204a626e3" providerId="LiveId" clId="{9A21812C-E53D-4018-A66F-CEBBCC2D158E}" dt="2025-04-23T10:28:37.750" v="3452" actId="478"/>
          <ac:spMkLst>
            <pc:docMk/>
            <pc:sldMk cId="116482428" sldId="295"/>
            <ac:spMk id="11" creationId="{672197F2-5BAF-727A-E3BE-54866AE6D829}"/>
          </ac:spMkLst>
        </pc:spChg>
        <pc:spChg chg="del">
          <ac:chgData name="Florian Faller" userId="4e496f4204a626e3" providerId="LiveId" clId="{9A21812C-E53D-4018-A66F-CEBBCC2D158E}" dt="2025-04-23T10:28:37.750" v="3452" actId="478"/>
          <ac:spMkLst>
            <pc:docMk/>
            <pc:sldMk cId="116482428" sldId="295"/>
            <ac:spMk id="12" creationId="{2ABC6849-EE06-185E-B87B-1E10DC14F472}"/>
          </ac:spMkLst>
        </pc:spChg>
        <pc:graphicFrameChg chg="add mod modGraphic">
          <ac:chgData name="Florian Faller" userId="4e496f4204a626e3" providerId="LiveId" clId="{9A21812C-E53D-4018-A66F-CEBBCC2D158E}" dt="2025-04-23T10:29:51.057" v="3608" actId="6549"/>
          <ac:graphicFrameMkLst>
            <pc:docMk/>
            <pc:sldMk cId="116482428" sldId="295"/>
            <ac:graphicFrameMk id="7" creationId="{17063BEA-2F1B-B183-7D53-375FA72907B7}"/>
          </ac:graphicFrameMkLst>
        </pc:graphicFrameChg>
      </pc:sldChg>
      <pc:sldChg chg="addSp delSp modSp add mod">
        <pc:chgData name="Florian Faller" userId="4e496f4204a626e3" providerId="LiveId" clId="{9A21812C-E53D-4018-A66F-CEBBCC2D158E}" dt="2025-04-23T10:32:01.274" v="3653"/>
        <pc:sldMkLst>
          <pc:docMk/>
          <pc:sldMk cId="2331572484" sldId="296"/>
        </pc:sldMkLst>
        <pc:spChg chg="mod">
          <ac:chgData name="Florian Faller" userId="4e496f4204a626e3" providerId="LiveId" clId="{9A21812C-E53D-4018-A66F-CEBBCC2D158E}" dt="2025-04-23T10:32:01.150" v="3627" actId="948"/>
          <ac:spMkLst>
            <pc:docMk/>
            <pc:sldMk cId="2331572484" sldId="296"/>
            <ac:spMk id="5" creationId="{671344F1-3982-25E9-F209-F0C442889135}"/>
          </ac:spMkLst>
        </pc:spChg>
        <pc:spChg chg="add del mod modVis">
          <ac:chgData name="Florian Faller" userId="4e496f4204a626e3" providerId="LiveId" clId="{9A21812C-E53D-4018-A66F-CEBBCC2D158E}" dt="2025-04-23T10:32:01.260" v="3651"/>
          <ac:spMkLst>
            <pc:docMk/>
            <pc:sldMk cId="2331572484" sldId="296"/>
            <ac:spMk id="7" creationId="{C93A11C0-5EE5-82A3-2E93-B009E71F6174}"/>
          </ac:spMkLst>
        </pc:spChg>
        <pc:spChg chg="del">
          <ac:chgData name="Florian Faller" userId="4e496f4204a626e3" providerId="LiveId" clId="{9A21812C-E53D-4018-A66F-CEBBCC2D158E}" dt="2025-04-23T10:31:55.585" v="3610" actId="478"/>
          <ac:spMkLst>
            <pc:docMk/>
            <pc:sldMk cId="2331572484" sldId="296"/>
            <ac:spMk id="9" creationId="{8E517C10-78A5-5B25-A8A3-5E65B14E826C}"/>
          </ac:spMkLst>
        </pc:spChg>
        <pc:spChg chg="del">
          <ac:chgData name="Florian Faller" userId="4e496f4204a626e3" providerId="LiveId" clId="{9A21812C-E53D-4018-A66F-CEBBCC2D158E}" dt="2025-04-23T10:31:55.585" v="3610" actId="478"/>
          <ac:spMkLst>
            <pc:docMk/>
            <pc:sldMk cId="2331572484" sldId="296"/>
            <ac:spMk id="10" creationId="{CD7B8FCD-5141-6491-AC0F-BAA2B75F238C}"/>
          </ac:spMkLst>
        </pc:spChg>
        <pc:spChg chg="del">
          <ac:chgData name="Florian Faller" userId="4e496f4204a626e3" providerId="LiveId" clId="{9A21812C-E53D-4018-A66F-CEBBCC2D158E}" dt="2025-04-23T10:31:55.585" v="3610" actId="478"/>
          <ac:spMkLst>
            <pc:docMk/>
            <pc:sldMk cId="2331572484" sldId="296"/>
            <ac:spMk id="11" creationId="{54851856-CB6C-6ADE-021F-7A64FC856C17}"/>
          </ac:spMkLst>
        </pc:spChg>
        <pc:spChg chg="del">
          <ac:chgData name="Florian Faller" userId="4e496f4204a626e3" providerId="LiveId" clId="{9A21812C-E53D-4018-A66F-CEBBCC2D158E}" dt="2025-04-23T10:31:55.585" v="3610" actId="478"/>
          <ac:spMkLst>
            <pc:docMk/>
            <pc:sldMk cId="2331572484" sldId="296"/>
            <ac:spMk id="12" creationId="{7AA45500-FBBD-1588-A709-B08FFC29FD8E}"/>
          </ac:spMkLst>
        </pc:spChg>
        <pc:graphicFrameChg chg="mod">
          <ac:chgData name="Florian Faller" userId="4e496f4204a626e3" providerId="LiveId" clId="{9A21812C-E53D-4018-A66F-CEBBCC2D158E}" dt="2025-04-23T10:32:01.274" v="3653"/>
          <ac:graphicFrameMkLst>
            <pc:docMk/>
            <pc:sldMk cId="2331572484" sldId="296"/>
            <ac:graphicFrameMk id="13" creationId="{CC558880-3C9B-D056-DE10-965263985307}"/>
          </ac:graphicFrameMkLst>
        </pc:graphicFrameChg>
      </pc:sldChg>
      <pc:sldChg chg="addSp delSp modSp add del mod ord">
        <pc:chgData name="Florian Faller" userId="4e496f4204a626e3" providerId="LiveId" clId="{9A21812C-E53D-4018-A66F-CEBBCC2D158E}" dt="2025-04-24T09:49:14.149" v="16454" actId="47"/>
        <pc:sldMkLst>
          <pc:docMk/>
          <pc:sldMk cId="3062739092" sldId="297"/>
        </pc:sldMkLst>
        <pc:spChg chg="mod">
          <ac:chgData name="Florian Faller" userId="4e496f4204a626e3" providerId="LiveId" clId="{9A21812C-E53D-4018-A66F-CEBBCC2D158E}" dt="2025-04-23T10:35:19.942" v="3667" actId="948"/>
          <ac:spMkLst>
            <pc:docMk/>
            <pc:sldMk cId="3062739092" sldId="297"/>
            <ac:spMk id="5" creationId="{EDC34004-448D-40C9-8128-93B47E1C1A16}"/>
          </ac:spMkLst>
        </pc:spChg>
        <pc:spChg chg="add mod">
          <ac:chgData name="Florian Faller" userId="4e496f4204a626e3" providerId="LiveId" clId="{9A21812C-E53D-4018-A66F-CEBBCC2D158E}" dt="2025-04-23T10:48:06.028" v="3967" actId="20577"/>
          <ac:spMkLst>
            <pc:docMk/>
            <pc:sldMk cId="3062739092" sldId="297"/>
            <ac:spMk id="7" creationId="{04CD762E-0989-6D75-DFB7-FEC4A751A71F}"/>
          </ac:spMkLst>
        </pc:spChg>
        <pc:spChg chg="add">
          <ac:chgData name="Florian Faller" userId="4e496f4204a626e3" providerId="LiveId" clId="{9A21812C-E53D-4018-A66F-CEBBCC2D158E}" dt="2025-04-23T12:15:11.261" v="4402"/>
          <ac:spMkLst>
            <pc:docMk/>
            <pc:sldMk cId="3062739092" sldId="297"/>
            <ac:spMk id="10" creationId="{DFC75C7E-DD73-3F8D-296D-8CC976A19B7C}"/>
          </ac:spMkLst>
        </pc:spChg>
        <pc:spChg chg="add del mod">
          <ac:chgData name="Florian Faller" userId="4e496f4204a626e3" providerId="LiveId" clId="{9A21812C-E53D-4018-A66F-CEBBCC2D158E}" dt="2025-04-23T12:15:21.590" v="4408"/>
          <ac:spMkLst>
            <pc:docMk/>
            <pc:sldMk cId="3062739092" sldId="297"/>
            <ac:spMk id="11" creationId="{6C28EC95-1E9A-1E94-997B-8A2055D62CC1}"/>
          </ac:spMkLst>
        </pc:spChg>
        <pc:spChg chg="add del mod">
          <ac:chgData name="Florian Faller" userId="4e496f4204a626e3" providerId="LiveId" clId="{9A21812C-E53D-4018-A66F-CEBBCC2D158E}" dt="2025-04-23T12:15:21.576" v="4406" actId="478"/>
          <ac:spMkLst>
            <pc:docMk/>
            <pc:sldMk cId="3062739092" sldId="297"/>
            <ac:spMk id="12" creationId="{0909ABBB-339B-D78B-1D81-56AE4BED77EC}"/>
          </ac:spMkLst>
        </pc:spChg>
        <pc:spChg chg="add mod">
          <ac:chgData name="Florian Faller" userId="4e496f4204a626e3" providerId="LiveId" clId="{9A21812C-E53D-4018-A66F-CEBBCC2D158E}" dt="2025-04-23T12:15:29.585" v="4413" actId="1076"/>
          <ac:spMkLst>
            <pc:docMk/>
            <pc:sldMk cId="3062739092" sldId="297"/>
            <ac:spMk id="14" creationId="{E6081195-A32C-C85A-D442-8BAE50DB5DA2}"/>
          </ac:spMkLst>
        </pc:spChg>
        <pc:graphicFrameChg chg="add mod">
          <ac:chgData name="Florian Faller" userId="4e496f4204a626e3" providerId="LiveId" clId="{9A21812C-E53D-4018-A66F-CEBBCC2D158E}" dt="2025-04-23T12:14:20.245" v="4398"/>
          <ac:graphicFrameMkLst>
            <pc:docMk/>
            <pc:sldMk cId="3062739092" sldId="297"/>
            <ac:graphicFrameMk id="8" creationId="{C144B896-FDD1-284D-E152-61161824A76F}"/>
          </ac:graphicFrameMkLst>
        </pc:graphicFrameChg>
        <pc:graphicFrameChg chg="add del mod modGraphic">
          <ac:chgData name="Florian Faller" userId="4e496f4204a626e3" providerId="LiveId" clId="{9A21812C-E53D-4018-A66F-CEBBCC2D158E}" dt="2025-04-23T12:14:28.901" v="4401" actId="478"/>
          <ac:graphicFrameMkLst>
            <pc:docMk/>
            <pc:sldMk cId="3062739092" sldId="297"/>
            <ac:graphicFrameMk id="9" creationId="{A734DD91-C825-D908-FD8D-8D7064E22BDD}"/>
          </ac:graphicFrameMkLst>
        </pc:graphicFrameChg>
        <pc:graphicFrameChg chg="mod">
          <ac:chgData name="Florian Faller" userId="4e496f4204a626e3" providerId="LiveId" clId="{9A21812C-E53D-4018-A66F-CEBBCC2D158E}" dt="2025-04-23T10:35:19.952" v="3669"/>
          <ac:graphicFrameMkLst>
            <pc:docMk/>
            <pc:sldMk cId="3062739092" sldId="297"/>
            <ac:graphicFrameMk id="13" creationId="{26E8A2FA-E8E0-4B89-D867-53C3827588D1}"/>
          </ac:graphicFrameMkLst>
        </pc:graphicFrameChg>
      </pc:sldChg>
      <pc:sldChg chg="addSp delSp modSp add mod ord">
        <pc:chgData name="Florian Faller" userId="4e496f4204a626e3" providerId="LiveId" clId="{9A21812C-E53D-4018-A66F-CEBBCC2D158E}" dt="2025-04-23T11:08:55.164" v="4379"/>
        <pc:sldMkLst>
          <pc:docMk/>
          <pc:sldMk cId="1284072402" sldId="298"/>
        </pc:sldMkLst>
        <pc:spChg chg="add mod">
          <ac:chgData name="Florian Faller" userId="4e496f4204a626e3" providerId="LiveId" clId="{9A21812C-E53D-4018-A66F-CEBBCC2D158E}" dt="2025-04-23T11:07:34.879" v="3972" actId="1076"/>
          <ac:spMkLst>
            <pc:docMk/>
            <pc:sldMk cId="1284072402" sldId="298"/>
            <ac:spMk id="6" creationId="{727E1E1C-E79B-0B56-A3D3-3585DBA988D8}"/>
          </ac:spMkLst>
        </pc:spChg>
        <pc:spChg chg="add mod">
          <ac:chgData name="Florian Faller" userId="4e496f4204a626e3" providerId="LiveId" clId="{9A21812C-E53D-4018-A66F-CEBBCC2D158E}" dt="2025-04-23T11:07:56.593" v="3977" actId="1076"/>
          <ac:spMkLst>
            <pc:docMk/>
            <pc:sldMk cId="1284072402" sldId="298"/>
            <ac:spMk id="8" creationId="{312827AF-EE6C-9097-37A5-820542016F29}"/>
          </ac:spMkLst>
        </pc:spChg>
        <pc:spChg chg="add del mod modVis">
          <ac:chgData name="Florian Faller" userId="4e496f4204a626e3" providerId="LiveId" clId="{9A21812C-E53D-4018-A66F-CEBBCC2D158E}" dt="2025-04-23T11:08:17.069" v="4006"/>
          <ac:spMkLst>
            <pc:docMk/>
            <pc:sldMk cId="1284072402" sldId="298"/>
            <ac:spMk id="9" creationId="{795A8213-3CAC-3BF4-08D6-4A9FFB9CD12C}"/>
          </ac:spMkLst>
        </pc:spChg>
        <pc:spChg chg="add del mod modVis">
          <ac:chgData name="Florian Faller" userId="4e496f4204a626e3" providerId="LiveId" clId="{9A21812C-E53D-4018-A66F-CEBBCC2D158E}" dt="2025-04-23T11:08:19.449" v="4047"/>
          <ac:spMkLst>
            <pc:docMk/>
            <pc:sldMk cId="1284072402" sldId="298"/>
            <ac:spMk id="10" creationId="{72383258-7CC0-27CE-0739-4CE9455F51C0}"/>
          </ac:spMkLst>
        </pc:spChg>
        <pc:spChg chg="add del mod modVis">
          <ac:chgData name="Florian Faller" userId="4e496f4204a626e3" providerId="LiveId" clId="{9A21812C-E53D-4018-A66F-CEBBCC2D158E}" dt="2025-04-23T11:08:23.811" v="4099"/>
          <ac:spMkLst>
            <pc:docMk/>
            <pc:sldMk cId="1284072402" sldId="298"/>
            <ac:spMk id="11" creationId="{5FADBE3F-438E-4B53-8D3D-EBA2F0EEB469}"/>
          </ac:spMkLst>
        </pc:spChg>
        <pc:spChg chg="add del mod modVis">
          <ac:chgData name="Florian Faller" userId="4e496f4204a626e3" providerId="LiveId" clId="{9A21812C-E53D-4018-A66F-CEBBCC2D158E}" dt="2025-04-23T11:08:24.992" v="4128"/>
          <ac:spMkLst>
            <pc:docMk/>
            <pc:sldMk cId="1284072402" sldId="298"/>
            <ac:spMk id="12" creationId="{F80AE4C2-E2A8-F2DD-C626-C0D2633B5A6B}"/>
          </ac:spMkLst>
        </pc:spChg>
        <pc:spChg chg="add del mod modVis">
          <ac:chgData name="Florian Faller" userId="4e496f4204a626e3" providerId="LiveId" clId="{9A21812C-E53D-4018-A66F-CEBBCC2D158E}" dt="2025-04-23T11:08:28.786" v="4176"/>
          <ac:spMkLst>
            <pc:docMk/>
            <pc:sldMk cId="1284072402" sldId="298"/>
            <ac:spMk id="13" creationId="{DEC5F631-2C40-E39B-70C1-4C2CC4565B90}"/>
          </ac:spMkLst>
        </pc:spChg>
        <pc:spChg chg="add del mod modVis">
          <ac:chgData name="Florian Faller" userId="4e496f4204a626e3" providerId="LiveId" clId="{9A21812C-E53D-4018-A66F-CEBBCC2D158E}" dt="2025-04-23T11:08:31.874" v="4215"/>
          <ac:spMkLst>
            <pc:docMk/>
            <pc:sldMk cId="1284072402" sldId="298"/>
            <ac:spMk id="14" creationId="{A068C466-BA56-9B5A-01DD-DF2413189006}"/>
          </ac:spMkLst>
        </pc:spChg>
        <pc:spChg chg="add del mod modVis">
          <ac:chgData name="Florian Faller" userId="4e496f4204a626e3" providerId="LiveId" clId="{9A21812C-E53D-4018-A66F-CEBBCC2D158E}" dt="2025-04-23T11:08:37.041" v="4246"/>
          <ac:spMkLst>
            <pc:docMk/>
            <pc:sldMk cId="1284072402" sldId="298"/>
            <ac:spMk id="15" creationId="{A9388B59-D2CF-A738-97EF-6FE124175A6B}"/>
          </ac:spMkLst>
        </pc:spChg>
        <pc:spChg chg="add del mod modVis">
          <ac:chgData name="Florian Faller" userId="4e496f4204a626e3" providerId="LiveId" clId="{9A21812C-E53D-4018-A66F-CEBBCC2D158E}" dt="2025-04-23T11:08:41.232" v="4281"/>
          <ac:spMkLst>
            <pc:docMk/>
            <pc:sldMk cId="1284072402" sldId="298"/>
            <ac:spMk id="17" creationId="{A37EF56A-E39F-2E58-E361-E7B1A72AF282}"/>
          </ac:spMkLst>
        </pc:spChg>
        <pc:spChg chg="add del mod modVis">
          <ac:chgData name="Florian Faller" userId="4e496f4204a626e3" providerId="LiveId" clId="{9A21812C-E53D-4018-A66F-CEBBCC2D158E}" dt="2025-04-23T11:08:42.508" v="4314"/>
          <ac:spMkLst>
            <pc:docMk/>
            <pc:sldMk cId="1284072402" sldId="298"/>
            <ac:spMk id="18" creationId="{57F983DE-B95A-3C70-167F-0318038ED363}"/>
          </ac:spMkLst>
        </pc:spChg>
        <pc:spChg chg="add del mod modVis">
          <ac:chgData name="Florian Faller" userId="4e496f4204a626e3" providerId="LiveId" clId="{9A21812C-E53D-4018-A66F-CEBBCC2D158E}" dt="2025-04-23T11:08:45.555" v="4342"/>
          <ac:spMkLst>
            <pc:docMk/>
            <pc:sldMk cId="1284072402" sldId="298"/>
            <ac:spMk id="19" creationId="{355A3744-66E2-884C-7074-609C17763017}"/>
          </ac:spMkLst>
        </pc:spChg>
        <pc:spChg chg="add del mod modVis">
          <ac:chgData name="Florian Faller" userId="4e496f4204a626e3" providerId="LiveId" clId="{9A21812C-E53D-4018-A66F-CEBBCC2D158E}" dt="2025-04-23T11:08:47.242" v="4375"/>
          <ac:spMkLst>
            <pc:docMk/>
            <pc:sldMk cId="1284072402" sldId="298"/>
            <ac:spMk id="20" creationId="{100562A8-4060-F686-264D-2A2CC49E524D}"/>
          </ac:spMkLst>
        </pc:spChg>
        <pc:spChg chg="del">
          <ac:chgData name="Florian Faller" userId="4e496f4204a626e3" providerId="LiveId" clId="{9A21812C-E53D-4018-A66F-CEBBCC2D158E}" dt="2025-04-23T11:07:20.552" v="3969" actId="478"/>
          <ac:spMkLst>
            <pc:docMk/>
            <pc:sldMk cId="1284072402" sldId="298"/>
            <ac:spMk id="27" creationId="{ADF35D2A-EA41-47D2-DA2B-DC14DC86ECD3}"/>
          </ac:spMkLst>
        </pc:spChg>
        <pc:spChg chg="mod">
          <ac:chgData name="Florian Faller" userId="4e496f4204a626e3" providerId="LiveId" clId="{9A21812C-E53D-4018-A66F-CEBBCC2D158E}" dt="2025-04-23T11:08:47.159" v="4351" actId="948"/>
          <ac:spMkLst>
            <pc:docMk/>
            <pc:sldMk cId="1284072402" sldId="298"/>
            <ac:spMk id="34" creationId="{0134CCE5-EFD8-DE7E-4EE8-332F3165F40B}"/>
          </ac:spMkLst>
        </pc:spChg>
        <pc:spChg chg="del">
          <ac:chgData name="Florian Faller" userId="4e496f4204a626e3" providerId="LiveId" clId="{9A21812C-E53D-4018-A66F-CEBBCC2D158E}" dt="2025-04-23T11:07:20.552" v="3969" actId="478"/>
          <ac:spMkLst>
            <pc:docMk/>
            <pc:sldMk cId="1284072402" sldId="298"/>
            <ac:spMk id="43" creationId="{426A9A3D-A4A3-872A-17DA-E00411DD7A6E}"/>
          </ac:spMkLst>
        </pc:spChg>
        <pc:spChg chg="del">
          <ac:chgData name="Florian Faller" userId="4e496f4204a626e3" providerId="LiveId" clId="{9A21812C-E53D-4018-A66F-CEBBCC2D158E}" dt="2025-04-23T11:07:20.552" v="3969" actId="478"/>
          <ac:spMkLst>
            <pc:docMk/>
            <pc:sldMk cId="1284072402" sldId="298"/>
            <ac:spMk id="44" creationId="{4B3B0611-8FA2-9B73-6991-13C2213DCC60}"/>
          </ac:spMkLst>
        </pc:spChg>
        <pc:spChg chg="del">
          <ac:chgData name="Florian Faller" userId="4e496f4204a626e3" providerId="LiveId" clId="{9A21812C-E53D-4018-A66F-CEBBCC2D158E}" dt="2025-04-23T11:07:20.552" v="3969" actId="478"/>
          <ac:spMkLst>
            <pc:docMk/>
            <pc:sldMk cId="1284072402" sldId="298"/>
            <ac:spMk id="45" creationId="{29286EB2-1499-747C-4A24-8E673140527B}"/>
          </ac:spMkLst>
        </pc:spChg>
        <pc:graphicFrameChg chg="mod">
          <ac:chgData name="Florian Faller" userId="4e496f4204a626e3" providerId="LiveId" clId="{9A21812C-E53D-4018-A66F-CEBBCC2D158E}" dt="2025-04-23T11:08:47.242" v="4377"/>
          <ac:graphicFrameMkLst>
            <pc:docMk/>
            <pc:sldMk cId="1284072402" sldId="298"/>
            <ac:graphicFrameMk id="7" creationId="{9CA05197-7DEC-93EE-DBED-5A7C6A1E29C2}"/>
          </ac:graphicFrameMkLst>
        </pc:graphicFrameChg>
        <pc:picChg chg="del">
          <ac:chgData name="Florian Faller" userId="4e496f4204a626e3" providerId="LiveId" clId="{9A21812C-E53D-4018-A66F-CEBBCC2D158E}" dt="2025-04-23T11:07:20.552" v="3969" actId="478"/>
          <ac:picMkLst>
            <pc:docMk/>
            <pc:sldMk cId="1284072402" sldId="298"/>
            <ac:picMk id="24" creationId="{593AE537-355A-2897-C318-E776295F831E}"/>
          </ac:picMkLst>
        </pc:picChg>
        <pc:picChg chg="del">
          <ac:chgData name="Florian Faller" userId="4e496f4204a626e3" providerId="LiveId" clId="{9A21812C-E53D-4018-A66F-CEBBCC2D158E}" dt="2025-04-23T11:07:20.552" v="3969" actId="478"/>
          <ac:picMkLst>
            <pc:docMk/>
            <pc:sldMk cId="1284072402" sldId="298"/>
            <ac:picMk id="38" creationId="{DE00053B-04E4-D98C-5FCB-4CB31025DC44}"/>
          </ac:picMkLst>
        </pc:picChg>
        <pc:picChg chg="del">
          <ac:chgData name="Florian Faller" userId="4e496f4204a626e3" providerId="LiveId" clId="{9A21812C-E53D-4018-A66F-CEBBCC2D158E}" dt="2025-04-23T11:07:20.552" v="3969" actId="478"/>
          <ac:picMkLst>
            <pc:docMk/>
            <pc:sldMk cId="1284072402" sldId="298"/>
            <ac:picMk id="47" creationId="{85190ACA-93CD-47FC-69C7-9EB1A57080AC}"/>
          </ac:picMkLst>
        </pc:picChg>
        <pc:picChg chg="del">
          <ac:chgData name="Florian Faller" userId="4e496f4204a626e3" providerId="LiveId" clId="{9A21812C-E53D-4018-A66F-CEBBCC2D158E}" dt="2025-04-23T11:07:20.552" v="3969" actId="478"/>
          <ac:picMkLst>
            <pc:docMk/>
            <pc:sldMk cId="1284072402" sldId="298"/>
            <ac:picMk id="49" creationId="{D2814E18-0C89-009E-02F6-5D6DB57C8BC2}"/>
          </ac:picMkLst>
        </pc:picChg>
        <pc:picChg chg="del">
          <ac:chgData name="Florian Faller" userId="4e496f4204a626e3" providerId="LiveId" clId="{9A21812C-E53D-4018-A66F-CEBBCC2D158E}" dt="2025-04-23T11:07:20.552" v="3969" actId="478"/>
          <ac:picMkLst>
            <pc:docMk/>
            <pc:sldMk cId="1284072402" sldId="298"/>
            <ac:picMk id="4102" creationId="{033A45EE-3375-228F-0F38-A82D997393C4}"/>
          </ac:picMkLst>
        </pc:picChg>
        <pc:picChg chg="del">
          <ac:chgData name="Florian Faller" userId="4e496f4204a626e3" providerId="LiveId" clId="{9A21812C-E53D-4018-A66F-CEBBCC2D158E}" dt="2025-04-23T11:07:20.552" v="3969" actId="478"/>
          <ac:picMkLst>
            <pc:docMk/>
            <pc:sldMk cId="1284072402" sldId="298"/>
            <ac:picMk id="4104" creationId="{A8557FBE-375E-CC0F-246C-125973FF95CD}"/>
          </ac:picMkLst>
        </pc:picChg>
      </pc:sldChg>
      <pc:sldChg chg="addSp delSp modSp add del mod ord setBg">
        <pc:chgData name="Florian Faller" userId="4e496f4204a626e3" providerId="LiveId" clId="{9A21812C-E53D-4018-A66F-CEBBCC2D158E}" dt="2025-04-24T09:49:14.149" v="16454" actId="47"/>
        <pc:sldMkLst>
          <pc:docMk/>
          <pc:sldMk cId="1997800387" sldId="299"/>
        </pc:sldMkLst>
        <pc:spChg chg="mod">
          <ac:chgData name="Florian Faller" userId="4e496f4204a626e3" providerId="LiveId" clId="{9A21812C-E53D-4018-A66F-CEBBCC2D158E}" dt="2025-04-23T12:59:36.982" v="4428" actId="948"/>
          <ac:spMkLst>
            <pc:docMk/>
            <pc:sldMk cId="1997800387" sldId="299"/>
            <ac:spMk id="5" creationId="{573E79F0-7CDC-3C05-C1CE-29D3E2630395}"/>
          </ac:spMkLst>
        </pc:spChg>
        <pc:spChg chg="mod">
          <ac:chgData name="Florian Faller" userId="4e496f4204a626e3" providerId="LiveId" clId="{9A21812C-E53D-4018-A66F-CEBBCC2D158E}" dt="2025-04-23T15:17:13.350" v="4828" actId="20577"/>
          <ac:spMkLst>
            <pc:docMk/>
            <pc:sldMk cId="1997800387" sldId="299"/>
            <ac:spMk id="6" creationId="{C2F9E8AC-8035-5010-B0BF-EDE7E72F668D}"/>
          </ac:spMkLst>
        </pc:spChg>
        <pc:spChg chg="del">
          <ac:chgData name="Florian Faller" userId="4e496f4204a626e3" providerId="LiveId" clId="{9A21812C-E53D-4018-A66F-CEBBCC2D158E}" dt="2025-04-23T12:59:06.496" v="4415" actId="478"/>
          <ac:spMkLst>
            <pc:docMk/>
            <pc:sldMk cId="1997800387" sldId="299"/>
            <ac:spMk id="7" creationId="{A85D77B0-EE51-5682-6E72-1BC71003A53D}"/>
          </ac:spMkLst>
        </pc:spChg>
        <pc:spChg chg="add mod">
          <ac:chgData name="Florian Faller" userId="4e496f4204a626e3" providerId="LiveId" clId="{9A21812C-E53D-4018-A66F-CEBBCC2D158E}" dt="2025-04-23T15:17:18.347" v="4829" actId="14100"/>
          <ac:spMkLst>
            <pc:docMk/>
            <pc:sldMk cId="1997800387" sldId="299"/>
            <ac:spMk id="8" creationId="{DE05EE85-F825-2F66-B702-FF2766874112}"/>
          </ac:spMkLst>
        </pc:spChg>
        <pc:spChg chg="add mod">
          <ac:chgData name="Florian Faller" userId="4e496f4204a626e3" providerId="LiveId" clId="{9A21812C-E53D-4018-A66F-CEBBCC2D158E}" dt="2025-04-23T15:17:25.567" v="4858" actId="20577"/>
          <ac:spMkLst>
            <pc:docMk/>
            <pc:sldMk cId="1997800387" sldId="299"/>
            <ac:spMk id="9" creationId="{EFFD82AB-75A0-B7D5-51C1-EAF9100375BA}"/>
          </ac:spMkLst>
        </pc:spChg>
        <pc:spChg chg="add mod">
          <ac:chgData name="Florian Faller" userId="4e496f4204a626e3" providerId="LiveId" clId="{9A21812C-E53D-4018-A66F-CEBBCC2D158E}" dt="2025-04-23T15:17:35.014" v="4883" actId="20577"/>
          <ac:spMkLst>
            <pc:docMk/>
            <pc:sldMk cId="1997800387" sldId="299"/>
            <ac:spMk id="10" creationId="{DD82D8B4-E2F4-12D7-50F0-4E7DC084639F}"/>
          </ac:spMkLst>
        </pc:spChg>
        <pc:spChg chg="add mod">
          <ac:chgData name="Florian Faller" userId="4e496f4204a626e3" providerId="LiveId" clId="{9A21812C-E53D-4018-A66F-CEBBCC2D158E}" dt="2025-04-23T16:17:07.613" v="5071" actId="14100"/>
          <ac:spMkLst>
            <pc:docMk/>
            <pc:sldMk cId="1997800387" sldId="299"/>
            <ac:spMk id="11" creationId="{B15A64B7-3CC8-B391-D035-76F06C1B0E4E}"/>
          </ac:spMkLst>
        </pc:spChg>
        <pc:spChg chg="add mod">
          <ac:chgData name="Florian Faller" userId="4e496f4204a626e3" providerId="LiveId" clId="{9A21812C-E53D-4018-A66F-CEBBCC2D158E}" dt="2025-04-23T16:17:14.420" v="5087" actId="20577"/>
          <ac:spMkLst>
            <pc:docMk/>
            <pc:sldMk cId="1997800387" sldId="299"/>
            <ac:spMk id="12" creationId="{D5F3273F-881E-125A-3353-E0ED32F296C2}"/>
          </ac:spMkLst>
        </pc:spChg>
        <pc:spChg chg="del">
          <ac:chgData name="Florian Faller" userId="4e496f4204a626e3" providerId="LiveId" clId="{9A21812C-E53D-4018-A66F-CEBBCC2D158E}" dt="2025-04-23T12:59:06.496" v="4415" actId="478"/>
          <ac:spMkLst>
            <pc:docMk/>
            <pc:sldMk cId="1997800387" sldId="299"/>
            <ac:spMk id="14" creationId="{F043A68F-D03F-B8DB-1EFE-354E5AEC2CC6}"/>
          </ac:spMkLst>
        </pc:spChg>
        <pc:spChg chg="add mod">
          <ac:chgData name="Florian Faller" userId="4e496f4204a626e3" providerId="LiveId" clId="{9A21812C-E53D-4018-A66F-CEBBCC2D158E}" dt="2025-04-23T16:18:10.991" v="5112" actId="164"/>
          <ac:spMkLst>
            <pc:docMk/>
            <pc:sldMk cId="1997800387" sldId="299"/>
            <ac:spMk id="15" creationId="{6EAA2EE7-A428-DA33-A114-B090584D6718}"/>
          </ac:spMkLst>
        </pc:spChg>
        <pc:spChg chg="add mod">
          <ac:chgData name="Florian Faller" userId="4e496f4204a626e3" providerId="LiveId" clId="{9A21812C-E53D-4018-A66F-CEBBCC2D158E}" dt="2025-04-23T16:18:10.991" v="5112" actId="164"/>
          <ac:spMkLst>
            <pc:docMk/>
            <pc:sldMk cId="1997800387" sldId="299"/>
            <ac:spMk id="16" creationId="{EABCA148-E838-D9C6-2A6B-E225E2DD14F3}"/>
          </ac:spMkLst>
        </pc:spChg>
        <pc:spChg chg="add mod">
          <ac:chgData name="Florian Faller" userId="4e496f4204a626e3" providerId="LiveId" clId="{9A21812C-E53D-4018-A66F-CEBBCC2D158E}" dt="2025-04-23T16:18:10.991" v="5112" actId="164"/>
          <ac:spMkLst>
            <pc:docMk/>
            <pc:sldMk cId="1997800387" sldId="299"/>
            <ac:spMk id="17" creationId="{133A7BD5-A2F7-3062-D39C-A62290EEA0FE}"/>
          </ac:spMkLst>
        </pc:spChg>
        <pc:grpChg chg="add mod">
          <ac:chgData name="Florian Faller" userId="4e496f4204a626e3" providerId="LiveId" clId="{9A21812C-E53D-4018-A66F-CEBBCC2D158E}" dt="2025-04-23T16:18:13.071" v="5114" actId="14100"/>
          <ac:grpSpMkLst>
            <pc:docMk/>
            <pc:sldMk cId="1997800387" sldId="299"/>
            <ac:grpSpMk id="18" creationId="{789AA804-EE04-A0CC-395A-1C4672A8F663}"/>
          </ac:grpSpMkLst>
        </pc:grpChg>
        <pc:graphicFrameChg chg="mod">
          <ac:chgData name="Florian Faller" userId="4e496f4204a626e3" providerId="LiveId" clId="{9A21812C-E53D-4018-A66F-CEBBCC2D158E}" dt="2025-04-23T12:59:36.995" v="4430"/>
          <ac:graphicFrameMkLst>
            <pc:docMk/>
            <pc:sldMk cId="1997800387" sldId="299"/>
            <ac:graphicFrameMk id="13" creationId="{282E0344-BCE5-3061-24AB-1E519E76A9F0}"/>
          </ac:graphicFrameMkLst>
        </pc:graphicFrameChg>
      </pc:sldChg>
      <pc:sldChg chg="addSp delSp modSp mod setBg">
        <pc:chgData name="Florian Faller" userId="4e496f4204a626e3" providerId="LiveId" clId="{9A21812C-E53D-4018-A66F-CEBBCC2D158E}" dt="2025-04-23T21:09:18.467" v="9937" actId="20577"/>
        <pc:sldMkLst>
          <pc:docMk/>
          <pc:sldMk cId="4096166175" sldId="300"/>
        </pc:sldMkLst>
        <pc:spChg chg="mod">
          <ac:chgData name="Florian Faller" userId="4e496f4204a626e3" providerId="LiveId" clId="{9A21812C-E53D-4018-A66F-CEBBCC2D158E}" dt="2025-04-23T21:09:07.944" v="9922" actId="20577"/>
          <ac:spMkLst>
            <pc:docMk/>
            <pc:sldMk cId="4096166175" sldId="300"/>
            <ac:spMk id="5" creationId="{6E97F427-0B44-6D83-74B2-20174A5A8AA0}"/>
          </ac:spMkLst>
        </pc:spChg>
        <pc:spChg chg="mod">
          <ac:chgData name="Florian Faller" userId="4e496f4204a626e3" providerId="LiveId" clId="{9A21812C-E53D-4018-A66F-CEBBCC2D158E}" dt="2025-04-23T21:09:18.467" v="9937" actId="20577"/>
          <ac:spMkLst>
            <pc:docMk/>
            <pc:sldMk cId="4096166175" sldId="300"/>
            <ac:spMk id="6" creationId="{2B3F3112-7026-CE17-D87B-8AAE92BB08F6}"/>
          </ac:spMkLst>
        </pc:spChg>
        <pc:spChg chg="mod">
          <ac:chgData name="Florian Faller" userId="4e496f4204a626e3" providerId="LiveId" clId="{9A21812C-E53D-4018-A66F-CEBBCC2D158E}" dt="2025-04-23T16:57:53.940" v="5390" actId="948"/>
          <ac:spMkLst>
            <pc:docMk/>
            <pc:sldMk cId="4096166175" sldId="300"/>
            <ac:spMk id="8" creationId="{3EAF9C1C-99B9-0BD9-C8D4-012CB8E30F10}"/>
          </ac:spMkLst>
        </pc:spChg>
        <pc:spChg chg="mod">
          <ac:chgData name="Florian Faller" userId="4e496f4204a626e3" providerId="LiveId" clId="{9A21812C-E53D-4018-A66F-CEBBCC2D158E}" dt="2025-04-23T16:58:44.556" v="5429" actId="404"/>
          <ac:spMkLst>
            <pc:docMk/>
            <pc:sldMk cId="4096166175" sldId="300"/>
            <ac:spMk id="13" creationId="{60F469AD-22CE-F2AA-835D-5B5911628257}"/>
          </ac:spMkLst>
        </pc:spChg>
        <pc:spChg chg="add del mod">
          <ac:chgData name="Florian Faller" userId="4e496f4204a626e3" providerId="LiveId" clId="{9A21812C-E53D-4018-A66F-CEBBCC2D158E}" dt="2025-04-23T16:57:47.170" v="5379" actId="478"/>
          <ac:spMkLst>
            <pc:docMk/>
            <pc:sldMk cId="4096166175" sldId="300"/>
            <ac:spMk id="18" creationId="{37FE727B-0369-ADBC-8639-1271ED36663A}"/>
          </ac:spMkLst>
        </pc:spChg>
        <pc:spChg chg="mod">
          <ac:chgData name="Florian Faller" userId="4e496f4204a626e3" providerId="LiveId" clId="{9A21812C-E53D-4018-A66F-CEBBCC2D158E}" dt="2025-04-23T16:58:44.556" v="5429" actId="404"/>
          <ac:spMkLst>
            <pc:docMk/>
            <pc:sldMk cId="4096166175" sldId="300"/>
            <ac:spMk id="19" creationId="{9CDAA47F-D58A-B395-A3B9-B20FE34BCA16}"/>
          </ac:spMkLst>
        </pc:spChg>
        <pc:spChg chg="add del mod modVis">
          <ac:chgData name="Florian Faller" userId="4e496f4204a626e3" providerId="LiveId" clId="{9A21812C-E53D-4018-A66F-CEBBCC2D158E}" dt="2025-04-23T16:57:54.048" v="5414"/>
          <ac:spMkLst>
            <pc:docMk/>
            <pc:sldMk cId="4096166175" sldId="300"/>
            <ac:spMk id="24" creationId="{B5117BC2-CC6C-7416-672F-D070CE60F010}"/>
          </ac:spMkLst>
        </pc:spChg>
        <pc:spChg chg="mod">
          <ac:chgData name="Florian Faller" userId="4e496f4204a626e3" providerId="LiveId" clId="{9A21812C-E53D-4018-A66F-CEBBCC2D158E}" dt="2025-04-23T21:08:37.985" v="9910" actId="692"/>
          <ac:spMkLst>
            <pc:docMk/>
            <pc:sldMk cId="4096166175" sldId="300"/>
            <ac:spMk id="25" creationId="{0675717D-08A4-25D9-06F3-B613CA9D2BB4}"/>
          </ac:spMkLst>
        </pc:spChg>
        <pc:spChg chg="add mod">
          <ac:chgData name="Florian Faller" userId="4e496f4204a626e3" providerId="LiveId" clId="{9A21812C-E53D-4018-A66F-CEBBCC2D158E}" dt="2025-04-23T21:08:56.337" v="9912" actId="1076"/>
          <ac:spMkLst>
            <pc:docMk/>
            <pc:sldMk cId="4096166175" sldId="300"/>
            <ac:spMk id="26" creationId="{00727106-95B0-576D-1A71-0BA600A4B942}"/>
          </ac:spMkLst>
        </pc:spChg>
        <pc:spChg chg="mod">
          <ac:chgData name="Florian Faller" userId="4e496f4204a626e3" providerId="LiveId" clId="{9A21812C-E53D-4018-A66F-CEBBCC2D158E}" dt="2025-04-23T20:12:04.419" v="8091" actId="2085"/>
          <ac:spMkLst>
            <pc:docMk/>
            <pc:sldMk cId="4096166175" sldId="300"/>
            <ac:spMk id="37" creationId="{2F69954C-455C-B644-8167-51C14431D45A}"/>
          </ac:spMkLst>
        </pc:spChg>
        <pc:graphicFrameChg chg="mod">
          <ac:chgData name="Florian Faller" userId="4e496f4204a626e3" providerId="LiveId" clId="{9A21812C-E53D-4018-A66F-CEBBCC2D158E}" dt="2025-04-23T16:57:54.048" v="5416"/>
          <ac:graphicFrameMkLst>
            <pc:docMk/>
            <pc:sldMk cId="4096166175" sldId="300"/>
            <ac:graphicFrameMk id="4" creationId="{9518B1CD-D29F-35DA-D2F3-2BC2FE45D1F5}"/>
          </ac:graphicFrameMkLst>
        </pc:graphicFrameChg>
        <pc:picChg chg="mod">
          <ac:chgData name="Florian Faller" userId="4e496f4204a626e3" providerId="LiveId" clId="{9A21812C-E53D-4018-A66F-CEBBCC2D158E}" dt="2025-04-23T17:08:35.550" v="5458" actId="1076"/>
          <ac:picMkLst>
            <pc:docMk/>
            <pc:sldMk cId="4096166175" sldId="300"/>
            <ac:picMk id="2" creationId="{CA740DA4-B4CB-B17E-4E2A-1793BEC92910}"/>
          </ac:picMkLst>
        </pc:picChg>
        <pc:picChg chg="mod">
          <ac:chgData name="Florian Faller" userId="4e496f4204a626e3" providerId="LiveId" clId="{9A21812C-E53D-4018-A66F-CEBBCC2D158E}" dt="2025-04-23T13:11:24.708" v="4448" actId="1076"/>
          <ac:picMkLst>
            <pc:docMk/>
            <pc:sldMk cId="4096166175" sldId="300"/>
            <ac:picMk id="3" creationId="{A7B0BCC5-1BFA-2825-2FB0-5A695CE748CC}"/>
          </ac:picMkLst>
        </pc:picChg>
        <pc:picChg chg="mod">
          <ac:chgData name="Florian Faller" userId="4e496f4204a626e3" providerId="LiveId" clId="{9A21812C-E53D-4018-A66F-CEBBCC2D158E}" dt="2025-04-23T17:01:20.348" v="5447" actId="1076"/>
          <ac:picMkLst>
            <pc:docMk/>
            <pc:sldMk cId="4096166175" sldId="300"/>
            <ac:picMk id="3" creationId="{DB94EFAA-FDBF-4269-BCC0-FDB00841C79E}"/>
          </ac:picMkLst>
        </pc:picChg>
        <pc:picChg chg="mod">
          <ac:chgData name="Florian Faller" userId="4e496f4204a626e3" providerId="LiveId" clId="{9A21812C-E53D-4018-A66F-CEBBCC2D158E}" dt="2025-04-23T17:01:01.610" v="5446" actId="1076"/>
          <ac:picMkLst>
            <pc:docMk/>
            <pc:sldMk cId="4096166175" sldId="300"/>
            <ac:picMk id="7" creationId="{256CB135-0B10-99FA-7B9F-C8F8ABECF702}"/>
          </ac:picMkLst>
        </pc:picChg>
        <pc:picChg chg="mod">
          <ac:chgData name="Florian Faller" userId="4e496f4204a626e3" providerId="LiveId" clId="{9A21812C-E53D-4018-A66F-CEBBCC2D158E}" dt="2025-04-23T15:01:31.687" v="4755" actId="1076"/>
          <ac:picMkLst>
            <pc:docMk/>
            <pc:sldMk cId="4096166175" sldId="300"/>
            <ac:picMk id="10" creationId="{B71924C8-85C0-F7AD-EE7E-692D12B91270}"/>
          </ac:picMkLst>
        </pc:picChg>
        <pc:picChg chg="mod">
          <ac:chgData name="Florian Faller" userId="4e496f4204a626e3" providerId="LiveId" clId="{9A21812C-E53D-4018-A66F-CEBBCC2D158E}" dt="2025-04-23T16:58:21.283" v="5421" actId="14100"/>
          <ac:picMkLst>
            <pc:docMk/>
            <pc:sldMk cId="4096166175" sldId="300"/>
            <ac:picMk id="12" creationId="{BD567318-DCA6-7340-9423-8E5EF971500E}"/>
          </ac:picMkLst>
        </pc:picChg>
        <pc:picChg chg="mod">
          <ac:chgData name="Florian Faller" userId="4e496f4204a626e3" providerId="LiveId" clId="{9A21812C-E53D-4018-A66F-CEBBCC2D158E}" dt="2025-04-23T17:08:33.619" v="5457" actId="1076"/>
          <ac:picMkLst>
            <pc:docMk/>
            <pc:sldMk cId="4096166175" sldId="300"/>
            <ac:picMk id="14" creationId="{BC5E429F-B420-8D4A-00B9-9A054D39D2DF}"/>
          </ac:picMkLst>
        </pc:picChg>
        <pc:picChg chg="mod">
          <ac:chgData name="Florian Faller" userId="4e496f4204a626e3" providerId="LiveId" clId="{9A21812C-E53D-4018-A66F-CEBBCC2D158E}" dt="2025-04-23T17:07:12.391" v="5450" actId="1076"/>
          <ac:picMkLst>
            <pc:docMk/>
            <pc:sldMk cId="4096166175" sldId="300"/>
            <ac:picMk id="15" creationId="{AF96A913-0406-07E2-14F8-7DFA70093086}"/>
          </ac:picMkLst>
        </pc:picChg>
        <pc:picChg chg="mod">
          <ac:chgData name="Florian Faller" userId="4e496f4204a626e3" providerId="LiveId" clId="{9A21812C-E53D-4018-A66F-CEBBCC2D158E}" dt="2025-04-23T16:58:21.283" v="5421" actId="14100"/>
          <ac:picMkLst>
            <pc:docMk/>
            <pc:sldMk cId="4096166175" sldId="300"/>
            <ac:picMk id="20" creationId="{8C30B03C-79F1-C318-D115-498EAFDD04FC}"/>
          </ac:picMkLst>
        </pc:picChg>
        <pc:picChg chg="mod">
          <ac:chgData name="Florian Faller" userId="4e496f4204a626e3" providerId="LiveId" clId="{9A21812C-E53D-4018-A66F-CEBBCC2D158E}" dt="2025-04-23T16:59:34.803" v="5431" actId="1076"/>
          <ac:picMkLst>
            <pc:docMk/>
            <pc:sldMk cId="4096166175" sldId="300"/>
            <ac:picMk id="21" creationId="{74FBD4AD-2343-549C-F45C-57693316F9B7}"/>
          </ac:picMkLst>
        </pc:picChg>
        <pc:picChg chg="del mod">
          <ac:chgData name="Florian Faller" userId="4e496f4204a626e3" providerId="LiveId" clId="{9A21812C-E53D-4018-A66F-CEBBCC2D158E}" dt="2025-04-23T17:07:08.057" v="5449" actId="478"/>
          <ac:picMkLst>
            <pc:docMk/>
            <pc:sldMk cId="4096166175" sldId="300"/>
            <ac:picMk id="22" creationId="{BDBBD90C-8C46-43CC-F6F5-967CD64D6399}"/>
          </ac:picMkLst>
        </pc:picChg>
        <pc:picChg chg="mod">
          <ac:chgData name="Florian Faller" userId="4e496f4204a626e3" providerId="LiveId" clId="{9A21812C-E53D-4018-A66F-CEBBCC2D158E}" dt="2025-04-23T16:58:21.283" v="5421" actId="14100"/>
          <ac:picMkLst>
            <pc:docMk/>
            <pc:sldMk cId="4096166175" sldId="300"/>
            <ac:picMk id="23" creationId="{1847E2BA-2CCB-4064-2663-7FC219EA9E75}"/>
          </ac:picMkLst>
        </pc:picChg>
      </pc:sldChg>
      <pc:sldChg chg="delSp mod">
        <pc:chgData name="Florian Faller" userId="4e496f4204a626e3" providerId="LiveId" clId="{9A21812C-E53D-4018-A66F-CEBBCC2D158E}" dt="2025-04-23T13:31:38.820" v="4449" actId="478"/>
        <pc:sldMkLst>
          <pc:docMk/>
          <pc:sldMk cId="760899026" sldId="301"/>
        </pc:sldMkLst>
        <pc:spChg chg="del">
          <ac:chgData name="Florian Faller" userId="4e496f4204a626e3" providerId="LiveId" clId="{9A21812C-E53D-4018-A66F-CEBBCC2D158E}" dt="2025-04-23T13:31:38.820" v="4449" actId="478"/>
          <ac:spMkLst>
            <pc:docMk/>
            <pc:sldMk cId="760899026" sldId="301"/>
            <ac:spMk id="5" creationId="{3236C55B-9A6B-049D-FD10-5C4DCF49A613}"/>
          </ac:spMkLst>
        </pc:spChg>
        <pc:spChg chg="del">
          <ac:chgData name="Florian Faller" userId="4e496f4204a626e3" providerId="LiveId" clId="{9A21812C-E53D-4018-A66F-CEBBCC2D158E}" dt="2025-04-23T13:31:38.820" v="4449" actId="478"/>
          <ac:spMkLst>
            <pc:docMk/>
            <pc:sldMk cId="760899026" sldId="301"/>
            <ac:spMk id="6" creationId="{ED265A59-D8A9-6150-FE16-E0E14E83261E}"/>
          </ac:spMkLst>
        </pc:spChg>
        <pc:spChg chg="del">
          <ac:chgData name="Florian Faller" userId="4e496f4204a626e3" providerId="LiveId" clId="{9A21812C-E53D-4018-A66F-CEBBCC2D158E}" dt="2025-04-23T13:31:38.820" v="4449" actId="478"/>
          <ac:spMkLst>
            <pc:docMk/>
            <pc:sldMk cId="760899026" sldId="301"/>
            <ac:spMk id="7" creationId="{CCFBB1FD-571F-BE18-01F6-66E418977B33}"/>
          </ac:spMkLst>
        </pc:spChg>
        <pc:spChg chg="del">
          <ac:chgData name="Florian Faller" userId="4e496f4204a626e3" providerId="LiveId" clId="{9A21812C-E53D-4018-A66F-CEBBCC2D158E}" dt="2025-04-23T13:31:38.820" v="4449" actId="478"/>
          <ac:spMkLst>
            <pc:docMk/>
            <pc:sldMk cId="760899026" sldId="301"/>
            <ac:spMk id="8" creationId="{C5BC336F-8303-3EC3-1FC3-DD0DB8282F2A}"/>
          </ac:spMkLst>
        </pc:spChg>
        <pc:spChg chg="del">
          <ac:chgData name="Florian Faller" userId="4e496f4204a626e3" providerId="LiveId" clId="{9A21812C-E53D-4018-A66F-CEBBCC2D158E}" dt="2025-04-23T13:31:38.820" v="4449" actId="478"/>
          <ac:spMkLst>
            <pc:docMk/>
            <pc:sldMk cId="760899026" sldId="301"/>
            <ac:spMk id="9" creationId="{6BB7E4FD-3D34-5506-990D-9453F6FA8F02}"/>
          </ac:spMkLst>
        </pc:spChg>
        <pc:spChg chg="del">
          <ac:chgData name="Florian Faller" userId="4e496f4204a626e3" providerId="LiveId" clId="{9A21812C-E53D-4018-A66F-CEBBCC2D158E}" dt="2025-04-23T13:31:38.820" v="4449" actId="478"/>
          <ac:spMkLst>
            <pc:docMk/>
            <pc:sldMk cId="760899026" sldId="301"/>
            <ac:spMk id="10" creationId="{DA420F2A-3CDB-883E-ECC1-5C74C1B5D4C3}"/>
          </ac:spMkLst>
        </pc:spChg>
        <pc:spChg chg="del">
          <ac:chgData name="Florian Faller" userId="4e496f4204a626e3" providerId="LiveId" clId="{9A21812C-E53D-4018-A66F-CEBBCC2D158E}" dt="2025-04-23T13:31:38.820" v="4449" actId="478"/>
          <ac:spMkLst>
            <pc:docMk/>
            <pc:sldMk cId="760899026" sldId="301"/>
            <ac:spMk id="11" creationId="{225CF018-3740-AF84-0649-17005217398E}"/>
          </ac:spMkLst>
        </pc:spChg>
        <pc:spChg chg="del">
          <ac:chgData name="Florian Faller" userId="4e496f4204a626e3" providerId="LiveId" clId="{9A21812C-E53D-4018-A66F-CEBBCC2D158E}" dt="2025-04-23T13:31:38.820" v="4449" actId="478"/>
          <ac:spMkLst>
            <pc:docMk/>
            <pc:sldMk cId="760899026" sldId="301"/>
            <ac:spMk id="12" creationId="{5D2AB486-F4EB-0C36-0835-B532C001AA2A}"/>
          </ac:spMkLst>
        </pc:spChg>
        <pc:spChg chg="del">
          <ac:chgData name="Florian Faller" userId="4e496f4204a626e3" providerId="LiveId" clId="{9A21812C-E53D-4018-A66F-CEBBCC2D158E}" dt="2025-04-23T13:31:38.820" v="4449" actId="478"/>
          <ac:spMkLst>
            <pc:docMk/>
            <pc:sldMk cId="760899026" sldId="301"/>
            <ac:spMk id="13" creationId="{7374E97E-8804-2566-8F17-638F92E1581F}"/>
          </ac:spMkLst>
        </pc:spChg>
        <pc:spChg chg="del">
          <ac:chgData name="Florian Faller" userId="4e496f4204a626e3" providerId="LiveId" clId="{9A21812C-E53D-4018-A66F-CEBBCC2D158E}" dt="2025-04-23T13:31:38.820" v="4449" actId="478"/>
          <ac:spMkLst>
            <pc:docMk/>
            <pc:sldMk cId="760899026" sldId="301"/>
            <ac:spMk id="14" creationId="{B72BE844-C6A5-76EB-ADB5-97B405399621}"/>
          </ac:spMkLst>
        </pc:spChg>
      </pc:sldChg>
      <pc:sldChg chg="addSp delSp modSp add del mod ord modShow">
        <pc:chgData name="Florian Faller" userId="4e496f4204a626e3" providerId="LiveId" clId="{9A21812C-E53D-4018-A66F-CEBBCC2D158E}" dt="2025-04-24T09:49:14.149" v="16454" actId="47"/>
        <pc:sldMkLst>
          <pc:docMk/>
          <pc:sldMk cId="384668195" sldId="302"/>
        </pc:sldMkLst>
        <pc:spChg chg="add mod">
          <ac:chgData name="Florian Faller" userId="4e496f4204a626e3" providerId="LiveId" clId="{9A21812C-E53D-4018-A66F-CEBBCC2D158E}" dt="2025-04-23T15:56:58.420" v="5061" actId="14100"/>
          <ac:spMkLst>
            <pc:docMk/>
            <pc:sldMk cId="384668195" sldId="302"/>
            <ac:spMk id="7" creationId="{1F41213C-4A41-83B0-C553-364397E30281}"/>
          </ac:spMkLst>
        </pc:spChg>
        <pc:spChg chg="add mod">
          <ac:chgData name="Florian Faller" userId="4e496f4204a626e3" providerId="LiveId" clId="{9A21812C-E53D-4018-A66F-CEBBCC2D158E}" dt="2025-04-23T15:56:20.569" v="5048" actId="14100"/>
          <ac:spMkLst>
            <pc:docMk/>
            <pc:sldMk cId="384668195" sldId="302"/>
            <ac:spMk id="8" creationId="{80160FF7-67B4-E6F8-8E80-2BF99A4A1BE3}"/>
          </ac:spMkLst>
        </pc:spChg>
        <pc:spChg chg="mod">
          <ac:chgData name="Florian Faller" userId="4e496f4204a626e3" providerId="LiveId" clId="{9A21812C-E53D-4018-A66F-CEBBCC2D158E}" dt="2025-04-23T15:57:20.188" v="5063" actId="1076"/>
          <ac:spMkLst>
            <pc:docMk/>
            <pc:sldMk cId="384668195" sldId="302"/>
            <ac:spMk id="14" creationId="{C04CF293-D806-5FBC-C813-D4290FF57C36}"/>
          </ac:spMkLst>
        </pc:spChg>
        <pc:spChg chg="mod">
          <ac:chgData name="Florian Faller" userId="4e496f4204a626e3" providerId="LiveId" clId="{9A21812C-E53D-4018-A66F-CEBBCC2D158E}" dt="2025-04-23T15:57:20.188" v="5063" actId="1076"/>
          <ac:spMkLst>
            <pc:docMk/>
            <pc:sldMk cId="384668195" sldId="302"/>
            <ac:spMk id="15" creationId="{455218CD-60C2-8ADD-2300-C534FC314896}"/>
          </ac:spMkLst>
        </pc:spChg>
        <pc:spChg chg="mod">
          <ac:chgData name="Florian Faller" userId="4e496f4204a626e3" providerId="LiveId" clId="{9A21812C-E53D-4018-A66F-CEBBCC2D158E}" dt="2025-04-23T15:56:58.420" v="5061" actId="14100"/>
          <ac:spMkLst>
            <pc:docMk/>
            <pc:sldMk cId="384668195" sldId="302"/>
            <ac:spMk id="17" creationId="{F731CD01-230D-99C9-4AE3-3C84EF0083A1}"/>
          </ac:spMkLst>
        </pc:spChg>
        <pc:spChg chg="mod">
          <ac:chgData name="Florian Faller" userId="4e496f4204a626e3" providerId="LiveId" clId="{9A21812C-E53D-4018-A66F-CEBBCC2D158E}" dt="2025-04-23T15:56:39.139" v="5051" actId="242"/>
          <ac:spMkLst>
            <pc:docMk/>
            <pc:sldMk cId="384668195" sldId="302"/>
            <ac:spMk id="18" creationId="{79A73D31-8524-CF0C-524F-6D0DA87050E8}"/>
          </ac:spMkLst>
        </pc:spChg>
        <pc:spChg chg="mod">
          <ac:chgData name="Florian Faller" userId="4e496f4204a626e3" providerId="LiveId" clId="{9A21812C-E53D-4018-A66F-CEBBCC2D158E}" dt="2025-04-23T15:57:20.188" v="5063" actId="1076"/>
          <ac:spMkLst>
            <pc:docMk/>
            <pc:sldMk cId="384668195" sldId="302"/>
            <ac:spMk id="19" creationId="{4E3C8286-27AD-4E21-D992-F9F44DC6588C}"/>
          </ac:spMkLst>
        </pc:spChg>
        <pc:spChg chg="mod">
          <ac:chgData name="Florian Faller" userId="4e496f4204a626e3" providerId="LiveId" clId="{9A21812C-E53D-4018-A66F-CEBBCC2D158E}" dt="2025-04-23T15:57:20.188" v="5063" actId="1076"/>
          <ac:spMkLst>
            <pc:docMk/>
            <pc:sldMk cId="384668195" sldId="302"/>
            <ac:spMk id="20" creationId="{C8DEC0E5-5A4A-35E3-5432-5592773E46F4}"/>
          </ac:spMkLst>
        </pc:spChg>
        <pc:spChg chg="mod">
          <ac:chgData name="Florian Faller" userId="4e496f4204a626e3" providerId="LiveId" clId="{9A21812C-E53D-4018-A66F-CEBBCC2D158E}" dt="2025-04-23T15:56:13.269" v="5045" actId="14100"/>
          <ac:spMkLst>
            <pc:docMk/>
            <pc:sldMk cId="384668195" sldId="302"/>
            <ac:spMk id="21" creationId="{ED743C0B-14C8-3442-12C3-AE90B92BBF2C}"/>
          </ac:spMkLst>
        </pc:spChg>
        <pc:spChg chg="add del mod">
          <ac:chgData name="Florian Faller" userId="4e496f4204a626e3" providerId="LiveId" clId="{9A21812C-E53D-4018-A66F-CEBBCC2D158E}" dt="2025-04-23T15:55:08.280" v="5039" actId="478"/>
          <ac:spMkLst>
            <pc:docMk/>
            <pc:sldMk cId="384668195" sldId="302"/>
            <ac:spMk id="22" creationId="{03A8BE5C-493C-A6A2-8C9C-ABC2F5532C1A}"/>
          </ac:spMkLst>
        </pc:spChg>
        <pc:spChg chg="mod">
          <ac:chgData name="Florian Faller" userId="4e496f4204a626e3" providerId="LiveId" clId="{9A21812C-E53D-4018-A66F-CEBBCC2D158E}" dt="2025-04-23T15:56:13.269" v="5045" actId="14100"/>
          <ac:spMkLst>
            <pc:docMk/>
            <pc:sldMk cId="384668195" sldId="302"/>
            <ac:spMk id="23" creationId="{3075D878-4F25-91F1-2F54-0287AF3AC979}"/>
          </ac:spMkLst>
        </pc:spChg>
        <pc:spChg chg="del mod">
          <ac:chgData name="Florian Faller" userId="4e496f4204a626e3" providerId="LiveId" clId="{9A21812C-E53D-4018-A66F-CEBBCC2D158E}" dt="2025-04-23T15:55:08.280" v="5039" actId="478"/>
          <ac:spMkLst>
            <pc:docMk/>
            <pc:sldMk cId="384668195" sldId="302"/>
            <ac:spMk id="25" creationId="{4506EC10-E6DC-D348-76D5-07F19F0E7273}"/>
          </ac:spMkLst>
        </pc:spChg>
        <pc:spChg chg="add mod">
          <ac:chgData name="Florian Faller" userId="4e496f4204a626e3" providerId="LiveId" clId="{9A21812C-E53D-4018-A66F-CEBBCC2D158E}" dt="2025-04-23T15:56:39.139" v="5051" actId="242"/>
          <ac:spMkLst>
            <pc:docMk/>
            <pc:sldMk cId="384668195" sldId="302"/>
            <ac:spMk id="26" creationId="{4043D100-7D54-9002-A4DC-20F8BBBC63D6}"/>
          </ac:spMkLst>
        </pc:spChg>
        <pc:spChg chg="add mod">
          <ac:chgData name="Florian Faller" userId="4e496f4204a626e3" providerId="LiveId" clId="{9A21812C-E53D-4018-A66F-CEBBCC2D158E}" dt="2025-04-23T15:56:13.269" v="5045" actId="14100"/>
          <ac:spMkLst>
            <pc:docMk/>
            <pc:sldMk cId="384668195" sldId="302"/>
            <ac:spMk id="27" creationId="{447B8F49-7CFE-1474-2233-AF10F7AB2623}"/>
          </ac:spMkLst>
        </pc:spChg>
        <pc:spChg chg="del mod">
          <ac:chgData name="Florian Faller" userId="4e496f4204a626e3" providerId="LiveId" clId="{9A21812C-E53D-4018-A66F-CEBBCC2D158E}" dt="2025-04-23T15:55:08.280" v="5039" actId="478"/>
          <ac:spMkLst>
            <pc:docMk/>
            <pc:sldMk cId="384668195" sldId="302"/>
            <ac:spMk id="28" creationId="{B3DB63A8-D1E5-D45D-C8CE-641398EBD61D}"/>
          </ac:spMkLst>
        </pc:spChg>
        <pc:spChg chg="del mod">
          <ac:chgData name="Florian Faller" userId="4e496f4204a626e3" providerId="LiveId" clId="{9A21812C-E53D-4018-A66F-CEBBCC2D158E}" dt="2025-04-23T15:55:08.280" v="5039" actId="478"/>
          <ac:spMkLst>
            <pc:docMk/>
            <pc:sldMk cId="384668195" sldId="302"/>
            <ac:spMk id="29" creationId="{5F8C4D25-E214-2FB3-FFE7-753E80134830}"/>
          </ac:spMkLst>
        </pc:spChg>
        <pc:spChg chg="del mod">
          <ac:chgData name="Florian Faller" userId="4e496f4204a626e3" providerId="LiveId" clId="{9A21812C-E53D-4018-A66F-CEBBCC2D158E}" dt="2025-04-23T15:55:08.280" v="5039" actId="478"/>
          <ac:spMkLst>
            <pc:docMk/>
            <pc:sldMk cId="384668195" sldId="302"/>
            <ac:spMk id="30" creationId="{0221E62C-F249-797B-1CBB-18E21017886D}"/>
          </ac:spMkLst>
        </pc:spChg>
        <pc:spChg chg="add del mod">
          <ac:chgData name="Florian Faller" userId="4e496f4204a626e3" providerId="LiveId" clId="{9A21812C-E53D-4018-A66F-CEBBCC2D158E}" dt="2025-04-23T15:55:08.280" v="5039" actId="478"/>
          <ac:spMkLst>
            <pc:docMk/>
            <pc:sldMk cId="384668195" sldId="302"/>
            <ac:spMk id="31" creationId="{5C1D49DD-31BB-30F4-0018-36DD6CD299D0}"/>
          </ac:spMkLst>
        </pc:spChg>
        <pc:cxnChg chg="add mod">
          <ac:chgData name="Florian Faller" userId="4e496f4204a626e3" providerId="LiveId" clId="{9A21812C-E53D-4018-A66F-CEBBCC2D158E}" dt="2025-04-23T15:55:44.310" v="5041" actId="1076"/>
          <ac:cxnSpMkLst>
            <pc:docMk/>
            <pc:sldMk cId="384668195" sldId="302"/>
            <ac:cxnSpMk id="6" creationId="{66399525-B894-5DB0-A0CD-2501F41D56DA}"/>
          </ac:cxnSpMkLst>
        </pc:cxnChg>
        <pc:cxnChg chg="mod">
          <ac:chgData name="Florian Faller" userId="4e496f4204a626e3" providerId="LiveId" clId="{9A21812C-E53D-4018-A66F-CEBBCC2D158E}" dt="2025-04-23T15:57:20.188" v="5063" actId="1076"/>
          <ac:cxnSpMkLst>
            <pc:docMk/>
            <pc:sldMk cId="384668195" sldId="302"/>
            <ac:cxnSpMk id="9" creationId="{5B88947D-F0C0-1DEB-17A2-53E0FAFDBB3B}"/>
          </ac:cxnSpMkLst>
        </pc:cxnChg>
        <pc:cxnChg chg="mod">
          <ac:chgData name="Florian Faller" userId="4e496f4204a626e3" providerId="LiveId" clId="{9A21812C-E53D-4018-A66F-CEBBCC2D158E}" dt="2025-04-23T15:57:20.188" v="5063" actId="1076"/>
          <ac:cxnSpMkLst>
            <pc:docMk/>
            <pc:sldMk cId="384668195" sldId="302"/>
            <ac:cxnSpMk id="11" creationId="{D63DA8C6-906B-383C-4805-2C6A74E0E19F}"/>
          </ac:cxnSpMkLst>
        </pc:cxnChg>
        <pc:cxnChg chg="mod">
          <ac:chgData name="Florian Faller" userId="4e496f4204a626e3" providerId="LiveId" clId="{9A21812C-E53D-4018-A66F-CEBBCC2D158E}" dt="2025-04-23T15:56:06.633" v="5044" actId="1076"/>
          <ac:cxnSpMkLst>
            <pc:docMk/>
            <pc:sldMk cId="384668195" sldId="302"/>
            <ac:cxnSpMk id="12" creationId="{24A8412D-9935-655C-D9C2-C5CE00F25E39}"/>
          </ac:cxnSpMkLst>
        </pc:cxnChg>
        <pc:cxnChg chg="mod">
          <ac:chgData name="Florian Faller" userId="4e496f4204a626e3" providerId="LiveId" clId="{9A21812C-E53D-4018-A66F-CEBBCC2D158E}" dt="2025-04-23T15:55:52.415" v="5042" actId="1076"/>
          <ac:cxnSpMkLst>
            <pc:docMk/>
            <pc:sldMk cId="384668195" sldId="302"/>
            <ac:cxnSpMk id="13" creationId="{C6481522-6AE3-B048-FB10-F062F2C4621E}"/>
          </ac:cxnSpMkLst>
        </pc:cxnChg>
        <pc:cxnChg chg="add mod">
          <ac:chgData name="Florian Faller" userId="4e496f4204a626e3" providerId="LiveId" clId="{9A21812C-E53D-4018-A66F-CEBBCC2D158E}" dt="2025-04-23T15:56:06.633" v="5044" actId="1076"/>
          <ac:cxnSpMkLst>
            <pc:docMk/>
            <pc:sldMk cId="384668195" sldId="302"/>
            <ac:cxnSpMk id="24" creationId="{F65391E9-79CD-C269-A7CB-E0CAC356C81B}"/>
          </ac:cxnSpMkLst>
        </pc:cxnChg>
      </pc:sldChg>
      <pc:sldChg chg="addSp delSp modSp add del mod modShow">
        <pc:chgData name="Florian Faller" userId="4e496f4204a626e3" providerId="LiveId" clId="{9A21812C-E53D-4018-A66F-CEBBCC2D158E}" dt="2025-04-24T09:49:14.149" v="16454" actId="47"/>
        <pc:sldMkLst>
          <pc:docMk/>
          <pc:sldMk cId="2347269653" sldId="303"/>
        </pc:sldMkLst>
        <pc:spChg chg="mod">
          <ac:chgData name="Florian Faller" userId="4e496f4204a626e3" providerId="LiveId" clId="{9A21812C-E53D-4018-A66F-CEBBCC2D158E}" dt="2025-04-23T18:20:45.286" v="6740" actId="948"/>
          <ac:spMkLst>
            <pc:docMk/>
            <pc:sldMk cId="2347269653" sldId="303"/>
            <ac:spMk id="5" creationId="{4B5907A0-B114-1B18-7F00-3DA7AFA94325}"/>
          </ac:spMkLst>
        </pc:spChg>
        <pc:spChg chg="del">
          <ac:chgData name="Florian Faller" userId="4e496f4204a626e3" providerId="LiveId" clId="{9A21812C-E53D-4018-A66F-CEBBCC2D158E}" dt="2025-04-23T15:02:52.272" v="4790" actId="478"/>
          <ac:spMkLst>
            <pc:docMk/>
            <pc:sldMk cId="2347269653" sldId="303"/>
            <ac:spMk id="9" creationId="{271C889D-9FF7-17FE-89CA-BBBDDA1CE3CF}"/>
          </ac:spMkLst>
        </pc:spChg>
        <pc:spChg chg="del">
          <ac:chgData name="Florian Faller" userId="4e496f4204a626e3" providerId="LiveId" clId="{9A21812C-E53D-4018-A66F-CEBBCC2D158E}" dt="2025-04-23T15:02:52.272" v="4790" actId="478"/>
          <ac:spMkLst>
            <pc:docMk/>
            <pc:sldMk cId="2347269653" sldId="303"/>
            <ac:spMk id="10" creationId="{5DCA0EFE-96AA-B81B-13B4-DB3EBF07BE92}"/>
          </ac:spMkLst>
        </pc:spChg>
        <pc:spChg chg="del">
          <ac:chgData name="Florian Faller" userId="4e496f4204a626e3" providerId="LiveId" clId="{9A21812C-E53D-4018-A66F-CEBBCC2D158E}" dt="2025-04-23T15:02:52.272" v="4790" actId="478"/>
          <ac:spMkLst>
            <pc:docMk/>
            <pc:sldMk cId="2347269653" sldId="303"/>
            <ac:spMk id="11" creationId="{E3BF3C2B-3918-FBFB-3F7C-84E0B8CC2771}"/>
          </ac:spMkLst>
        </pc:spChg>
        <pc:spChg chg="del">
          <ac:chgData name="Florian Faller" userId="4e496f4204a626e3" providerId="LiveId" clId="{9A21812C-E53D-4018-A66F-CEBBCC2D158E}" dt="2025-04-23T15:02:52.272" v="4790" actId="478"/>
          <ac:spMkLst>
            <pc:docMk/>
            <pc:sldMk cId="2347269653" sldId="303"/>
            <ac:spMk id="12" creationId="{28ADC5FA-F8CB-B54D-8877-EF9BC398EAC2}"/>
          </ac:spMkLst>
        </pc:spChg>
        <pc:spChg chg="add del mod modVis">
          <ac:chgData name="Florian Faller" userId="4e496f4204a626e3" providerId="LiveId" clId="{9A21812C-E53D-4018-A66F-CEBBCC2D158E}" dt="2025-04-23T18:20:45.361" v="6764"/>
          <ac:spMkLst>
            <pc:docMk/>
            <pc:sldMk cId="2347269653" sldId="303"/>
            <ac:spMk id="16" creationId="{0224F09C-0119-B4EA-ECB4-25BE66BA7D6D}"/>
          </ac:spMkLst>
        </pc:spChg>
        <pc:graphicFrameChg chg="mod">
          <ac:chgData name="Florian Faller" userId="4e496f4204a626e3" providerId="LiveId" clId="{9A21812C-E53D-4018-A66F-CEBBCC2D158E}" dt="2025-04-23T18:20:45.361" v="6766"/>
          <ac:graphicFrameMkLst>
            <pc:docMk/>
            <pc:sldMk cId="2347269653" sldId="303"/>
            <ac:graphicFrameMk id="13" creationId="{AFC64DC6-B567-A793-691F-68786C88BDE9}"/>
          </ac:graphicFrameMkLst>
        </pc:graphicFrameChg>
        <pc:picChg chg="add mod modCrop">
          <ac:chgData name="Florian Faller" userId="4e496f4204a626e3" providerId="LiveId" clId="{9A21812C-E53D-4018-A66F-CEBBCC2D158E}" dt="2025-04-23T19:10:42.913" v="7850" actId="1367"/>
          <ac:picMkLst>
            <pc:docMk/>
            <pc:sldMk cId="2347269653" sldId="303"/>
            <ac:picMk id="8" creationId="{C12092BF-BD51-5338-AF00-FCE7C2DF4B9C}"/>
          </ac:picMkLst>
        </pc:picChg>
        <pc:picChg chg="add mod modCrop">
          <ac:chgData name="Florian Faller" userId="4e496f4204a626e3" providerId="LiveId" clId="{9A21812C-E53D-4018-A66F-CEBBCC2D158E}" dt="2025-04-23T19:10:42.913" v="7850" actId="1367"/>
          <ac:picMkLst>
            <pc:docMk/>
            <pc:sldMk cId="2347269653" sldId="303"/>
            <ac:picMk id="15" creationId="{88C958F9-6ED2-3570-0223-E913048D9FFB}"/>
          </ac:picMkLst>
        </pc:picChg>
      </pc:sldChg>
      <pc:sldChg chg="addSp delSp modSp new mod modNotesTx">
        <pc:chgData name="Florian Faller" userId="4e496f4204a626e3" providerId="LiveId" clId="{9A21812C-E53D-4018-A66F-CEBBCC2D158E}" dt="2025-04-24T08:47:35.896" v="15266" actId="478"/>
        <pc:sldMkLst>
          <pc:docMk/>
          <pc:sldMk cId="3158657558" sldId="304"/>
        </pc:sldMkLst>
        <pc:spChg chg="add del">
          <ac:chgData name="Florian Faller" userId="4e496f4204a626e3" providerId="LiveId" clId="{9A21812C-E53D-4018-A66F-CEBBCC2D158E}" dt="2025-04-24T08:47:29.021" v="15264" actId="478"/>
          <ac:spMkLst>
            <pc:docMk/>
            <pc:sldMk cId="3158657558" sldId="304"/>
            <ac:spMk id="2" creationId="{9DEA8BC8-6377-5967-8812-88A32BBF98DF}"/>
          </ac:spMkLst>
        </pc:spChg>
        <pc:spChg chg="add del">
          <ac:chgData name="Florian Faller" userId="4e496f4204a626e3" providerId="LiveId" clId="{9A21812C-E53D-4018-A66F-CEBBCC2D158E}" dt="2025-04-24T08:47:35.896" v="15266" actId="478"/>
          <ac:spMkLst>
            <pc:docMk/>
            <pc:sldMk cId="3158657558" sldId="304"/>
            <ac:spMk id="3" creationId="{AC7C918B-5095-E863-D08A-17B0C20B76B1}"/>
          </ac:spMkLst>
        </pc:spChg>
        <pc:spChg chg="add del">
          <ac:chgData name="Florian Faller" userId="4e496f4204a626e3" providerId="LiveId" clId="{9A21812C-E53D-4018-A66F-CEBBCC2D158E}" dt="2025-04-24T08:47:29.021" v="15264" actId="478"/>
          <ac:spMkLst>
            <pc:docMk/>
            <pc:sldMk cId="3158657558" sldId="304"/>
            <ac:spMk id="4" creationId="{4C5E611D-0182-17E9-4B36-096478042A1A}"/>
          </ac:spMkLst>
        </pc:spChg>
        <pc:spChg chg="add del mod">
          <ac:chgData name="Florian Faller" userId="4e496f4204a626e3" providerId="LiveId" clId="{9A21812C-E53D-4018-A66F-CEBBCC2D158E}" dt="2025-04-24T08:47:31.808" v="15265" actId="478"/>
          <ac:spMkLst>
            <pc:docMk/>
            <pc:sldMk cId="3158657558" sldId="304"/>
            <ac:spMk id="6" creationId="{FD24423F-92C9-FD16-7383-04C2D2731B99}"/>
          </ac:spMkLst>
        </pc:spChg>
        <pc:spChg chg="add del">
          <ac:chgData name="Florian Faller" userId="4e496f4204a626e3" providerId="LiveId" clId="{9A21812C-E53D-4018-A66F-CEBBCC2D158E}" dt="2025-04-24T08:47:31.808" v="15265" actId="478"/>
          <ac:spMkLst>
            <pc:docMk/>
            <pc:sldMk cId="3158657558" sldId="304"/>
            <ac:spMk id="8" creationId="{FB97AD20-6357-F108-AA7A-A19B49F5E8A5}"/>
          </ac:spMkLst>
        </pc:spChg>
      </pc:sldChg>
      <pc:sldChg chg="addSp modSp new mod ord">
        <pc:chgData name="Florian Faller" userId="4e496f4204a626e3" providerId="LiveId" clId="{9A21812C-E53D-4018-A66F-CEBBCC2D158E}" dt="2025-04-23T20:11:21.608" v="8085"/>
        <pc:sldMkLst>
          <pc:docMk/>
          <pc:sldMk cId="2182291207" sldId="305"/>
        </pc:sldMkLst>
        <pc:spChg chg="add mod">
          <ac:chgData name="Florian Faller" userId="4e496f4204a626e3" providerId="LiveId" clId="{9A21812C-E53D-4018-A66F-CEBBCC2D158E}" dt="2025-04-23T16:19:35.887" v="5164" actId="12789"/>
          <ac:spMkLst>
            <pc:docMk/>
            <pc:sldMk cId="2182291207" sldId="305"/>
            <ac:spMk id="2" creationId="{3D0EAB2B-3934-4F89-1165-7C84469EA671}"/>
          </ac:spMkLst>
        </pc:spChg>
      </pc:sldChg>
      <pc:sldChg chg="modSp add mod modAnim">
        <pc:chgData name="Florian Faller" userId="4e496f4204a626e3" providerId="LiveId" clId="{9A21812C-E53D-4018-A66F-CEBBCC2D158E}" dt="2025-04-23T16:20:14.492" v="5177"/>
        <pc:sldMkLst>
          <pc:docMk/>
          <pc:sldMk cId="789098323" sldId="306"/>
        </pc:sldMkLst>
        <pc:spChg chg="mod">
          <ac:chgData name="Florian Faller" userId="4e496f4204a626e3" providerId="LiveId" clId="{9A21812C-E53D-4018-A66F-CEBBCC2D158E}" dt="2025-04-23T16:19:43.152" v="5173" actId="20577"/>
          <ac:spMkLst>
            <pc:docMk/>
            <pc:sldMk cId="789098323" sldId="306"/>
            <ac:spMk id="2" creationId="{F5A190F7-C1EE-B42C-3981-8875A5E055FA}"/>
          </ac:spMkLst>
        </pc:spChg>
      </pc:sldChg>
      <pc:sldChg chg="ord">
        <pc:chgData name="Florian Faller" userId="4e496f4204a626e3" providerId="LiveId" clId="{9A21812C-E53D-4018-A66F-CEBBCC2D158E}" dt="2025-04-23T20:11:21.608" v="8085"/>
        <pc:sldMkLst>
          <pc:docMk/>
          <pc:sldMk cId="2544704836" sldId="309"/>
        </pc:sldMkLst>
      </pc:sldChg>
      <pc:sldChg chg="ord">
        <pc:chgData name="Florian Faller" userId="4e496f4204a626e3" providerId="LiveId" clId="{9A21812C-E53D-4018-A66F-CEBBCC2D158E}" dt="2025-04-23T20:11:21.608" v="8085"/>
        <pc:sldMkLst>
          <pc:docMk/>
          <pc:sldMk cId="3250734478" sldId="310"/>
        </pc:sldMkLst>
      </pc:sldChg>
      <pc:sldChg chg="ord">
        <pc:chgData name="Florian Faller" userId="4e496f4204a626e3" providerId="LiveId" clId="{9A21812C-E53D-4018-A66F-CEBBCC2D158E}" dt="2025-04-23T20:11:21.608" v="8085"/>
        <pc:sldMkLst>
          <pc:docMk/>
          <pc:sldMk cId="925700069" sldId="311"/>
        </pc:sldMkLst>
      </pc:sldChg>
      <pc:sldChg chg="addSp delSp modSp new del mod setBg">
        <pc:chgData name="Florian Faller" userId="4e496f4204a626e3" providerId="LiveId" clId="{9A21812C-E53D-4018-A66F-CEBBCC2D158E}" dt="2025-04-23T18:33:52.293" v="7201" actId="47"/>
        <pc:sldMkLst>
          <pc:docMk/>
          <pc:sldMk cId="1320245769" sldId="312"/>
        </pc:sldMkLst>
        <pc:spChg chg="add del mod">
          <ac:chgData name="Florian Faller" userId="4e496f4204a626e3" providerId="LiveId" clId="{9A21812C-E53D-4018-A66F-CEBBCC2D158E}" dt="2025-04-23T16:37:49.255" v="5360" actId="20577"/>
          <ac:spMkLst>
            <pc:docMk/>
            <pc:sldMk cId="1320245769" sldId="312"/>
            <ac:spMk id="2" creationId="{337F9F9E-E7D5-DC8A-DD52-8DAE96FA23F1}"/>
          </ac:spMkLst>
        </pc:spChg>
        <pc:spChg chg="add mod">
          <ac:chgData name="Florian Faller" userId="4e496f4204a626e3" providerId="LiveId" clId="{9A21812C-E53D-4018-A66F-CEBBCC2D158E}" dt="2025-04-23T16:37:36.101" v="5303" actId="20577"/>
          <ac:spMkLst>
            <pc:docMk/>
            <pc:sldMk cId="1320245769" sldId="312"/>
            <ac:spMk id="3" creationId="{0D71AE67-1BB7-9237-855F-D279FE64E637}"/>
          </ac:spMkLst>
        </pc:spChg>
        <pc:spChg chg="add mod">
          <ac:chgData name="Florian Faller" userId="4e496f4204a626e3" providerId="LiveId" clId="{9A21812C-E53D-4018-A66F-CEBBCC2D158E}" dt="2025-04-23T16:36:40.249" v="5190"/>
          <ac:spMkLst>
            <pc:docMk/>
            <pc:sldMk cId="1320245769" sldId="312"/>
            <ac:spMk id="4" creationId="{68411681-94A2-5E6F-2800-AE6C24F91F21}"/>
          </ac:spMkLst>
        </pc:spChg>
        <pc:spChg chg="add mod">
          <ac:chgData name="Florian Faller" userId="4e496f4204a626e3" providerId="LiveId" clId="{9A21812C-E53D-4018-A66F-CEBBCC2D158E}" dt="2025-04-23T16:57:09.979" v="5378" actId="20577"/>
          <ac:spMkLst>
            <pc:docMk/>
            <pc:sldMk cId="1320245769" sldId="312"/>
            <ac:spMk id="5" creationId="{B4061241-DC28-52D2-A3E5-359793EAE4EA}"/>
          </ac:spMkLst>
        </pc:spChg>
      </pc:sldChg>
      <pc:sldChg chg="addSp delSp modSp add del mod modClrScheme chgLayout">
        <pc:chgData name="Florian Faller" userId="4e496f4204a626e3" providerId="LiveId" clId="{9A21812C-E53D-4018-A66F-CEBBCC2D158E}" dt="2025-04-23T16:37:08.888" v="5292" actId="47"/>
        <pc:sldMkLst>
          <pc:docMk/>
          <pc:sldMk cId="1610963076" sldId="313"/>
        </pc:sldMkLst>
        <pc:spChg chg="mod ord">
          <ac:chgData name="Florian Faller" userId="4e496f4204a626e3" providerId="LiveId" clId="{9A21812C-E53D-4018-A66F-CEBBCC2D158E}" dt="2025-04-23T16:37:06.689" v="5271" actId="700"/>
          <ac:spMkLst>
            <pc:docMk/>
            <pc:sldMk cId="1610963076" sldId="313"/>
            <ac:spMk id="3" creationId="{85B9B89B-9133-4B2A-D7A7-99D5F21EBC65}"/>
          </ac:spMkLst>
        </pc:spChg>
        <pc:spChg chg="mod ord">
          <ac:chgData name="Florian Faller" userId="4e496f4204a626e3" providerId="LiveId" clId="{9A21812C-E53D-4018-A66F-CEBBCC2D158E}" dt="2025-04-23T16:37:06.689" v="5271" actId="700"/>
          <ac:spMkLst>
            <pc:docMk/>
            <pc:sldMk cId="1610963076" sldId="313"/>
            <ac:spMk id="4" creationId="{3EC136AE-3841-5FFA-3B44-F9BC1EB9B76E}"/>
          </ac:spMkLst>
        </pc:spChg>
        <pc:spChg chg="mod ord">
          <ac:chgData name="Florian Faller" userId="4e496f4204a626e3" providerId="LiveId" clId="{9A21812C-E53D-4018-A66F-CEBBCC2D158E}" dt="2025-04-23T16:37:06.689" v="5271" actId="700"/>
          <ac:spMkLst>
            <pc:docMk/>
            <pc:sldMk cId="1610963076" sldId="313"/>
            <ac:spMk id="5" creationId="{57D7E6D7-F61A-ABC6-AF03-E45184C7BC66}"/>
          </ac:spMkLst>
        </pc:spChg>
        <pc:spChg chg="add del mod modVis">
          <ac:chgData name="Florian Faller" userId="4e496f4204a626e3" providerId="LiveId" clId="{9A21812C-E53D-4018-A66F-CEBBCC2D158E}" dt="2025-04-23T16:37:07.400" v="5288" actId="962"/>
          <ac:spMkLst>
            <pc:docMk/>
            <pc:sldMk cId="1610963076" sldId="313"/>
            <ac:spMk id="6" creationId="{131B2326-5B33-8298-7713-65CD574D09ED}"/>
          </ac:spMkLst>
        </pc:spChg>
        <pc:spChg chg="add del mod modVis">
          <ac:chgData name="Florian Faller" userId="4e496f4204a626e3" providerId="LiveId" clId="{9A21812C-E53D-4018-A66F-CEBBCC2D158E}" dt="2025-04-23T16:37:05.110" v="5265" actId="962"/>
          <ac:spMkLst>
            <pc:docMk/>
            <pc:sldMk cId="1610963076" sldId="313"/>
            <ac:spMk id="8" creationId="{3665D9EF-3A4F-2418-E06A-C09C2DAC60E3}"/>
          </ac:spMkLst>
        </pc:spChg>
        <pc:spChg chg="mod ord">
          <ac:chgData name="Florian Faller" userId="4e496f4204a626e3" providerId="LiveId" clId="{9A21812C-E53D-4018-A66F-CEBBCC2D158E}" dt="2025-04-23T16:37:07.400" v="5289" actId="948"/>
          <ac:spMkLst>
            <pc:docMk/>
            <pc:sldMk cId="1610963076" sldId="313"/>
            <ac:spMk id="34" creationId="{22590D4F-C8FC-6FEF-17A6-906F3CCE4982}"/>
          </ac:spMkLst>
        </pc:spChg>
        <pc:graphicFrameChg chg="mod">
          <ac:chgData name="Florian Faller" userId="4e496f4204a626e3" providerId="LiveId" clId="{9A21812C-E53D-4018-A66F-CEBBCC2D158E}" dt="2025-04-23T16:37:07.416" v="5291"/>
          <ac:graphicFrameMkLst>
            <pc:docMk/>
            <pc:sldMk cId="1610963076" sldId="313"/>
            <ac:graphicFrameMk id="7" creationId="{E9A95563-209E-F2C5-14F9-DD241CD202DD}"/>
          </ac:graphicFrameMkLst>
        </pc:graphicFrameChg>
      </pc:sldChg>
      <pc:sldChg chg="addSp delSp modSp new mod setBg modClrScheme chgLayout modNotesTx">
        <pc:chgData name="Florian Faller" userId="4e496f4204a626e3" providerId="LiveId" clId="{9A21812C-E53D-4018-A66F-CEBBCC2D158E}" dt="2025-04-23T21:07:36.661" v="9877" actId="1076"/>
        <pc:sldMkLst>
          <pc:docMk/>
          <pc:sldMk cId="4276100321" sldId="313"/>
        </pc:sldMkLst>
        <pc:spChg chg="del mod ord">
          <ac:chgData name="Florian Faller" userId="4e496f4204a626e3" providerId="LiveId" clId="{9A21812C-E53D-4018-A66F-CEBBCC2D158E}" dt="2025-04-23T17:36:04.922" v="5689" actId="478"/>
          <ac:spMkLst>
            <pc:docMk/>
            <pc:sldMk cId="4276100321" sldId="313"/>
            <ac:spMk id="2" creationId="{E7618C98-5F40-5802-E232-E2E9400B5599}"/>
          </ac:spMkLst>
        </pc:spChg>
        <pc:spChg chg="del mod ord">
          <ac:chgData name="Florian Faller" userId="4e496f4204a626e3" providerId="LiveId" clId="{9A21812C-E53D-4018-A66F-CEBBCC2D158E}" dt="2025-04-23T17:36:03.068" v="5688" actId="478"/>
          <ac:spMkLst>
            <pc:docMk/>
            <pc:sldMk cId="4276100321" sldId="313"/>
            <ac:spMk id="3" creationId="{A232CD82-F5DE-2742-79DA-16E2DFE30CC8}"/>
          </ac:spMkLst>
        </pc:spChg>
        <pc:spChg chg="del mod ord">
          <ac:chgData name="Florian Faller" userId="4e496f4204a626e3" providerId="LiveId" clId="{9A21812C-E53D-4018-A66F-CEBBCC2D158E}" dt="2025-04-23T17:35:54.779" v="5685" actId="478"/>
          <ac:spMkLst>
            <pc:docMk/>
            <pc:sldMk cId="4276100321" sldId="313"/>
            <ac:spMk id="4" creationId="{2FE99625-EACB-EE25-4A5F-99750C022B2D}"/>
          </ac:spMkLst>
        </pc:spChg>
        <pc:spChg chg="del">
          <ac:chgData name="Florian Faller" userId="4e496f4204a626e3" providerId="LiveId" clId="{9A21812C-E53D-4018-A66F-CEBBCC2D158E}" dt="2025-04-23T17:31:39.908" v="5460" actId="478"/>
          <ac:spMkLst>
            <pc:docMk/>
            <pc:sldMk cId="4276100321" sldId="313"/>
            <ac:spMk id="5" creationId="{28D6DAD8-3F2D-94AD-E3D7-8CCD75D0F325}"/>
          </ac:spMkLst>
        </pc:spChg>
        <pc:spChg chg="del">
          <ac:chgData name="Florian Faller" userId="4e496f4204a626e3" providerId="LiveId" clId="{9A21812C-E53D-4018-A66F-CEBBCC2D158E}" dt="2025-04-23T17:31:39.908" v="5460" actId="478"/>
          <ac:spMkLst>
            <pc:docMk/>
            <pc:sldMk cId="4276100321" sldId="313"/>
            <ac:spMk id="6" creationId="{A5C136A8-5062-E6E0-1582-C7340D7EF9BB}"/>
          </ac:spMkLst>
        </pc:spChg>
        <pc:spChg chg="del">
          <ac:chgData name="Florian Faller" userId="4e496f4204a626e3" providerId="LiveId" clId="{9A21812C-E53D-4018-A66F-CEBBCC2D158E}" dt="2025-04-23T17:31:39.908" v="5460" actId="478"/>
          <ac:spMkLst>
            <pc:docMk/>
            <pc:sldMk cId="4276100321" sldId="313"/>
            <ac:spMk id="7" creationId="{8224CE8E-BDDB-14A1-57D8-7BFF25E93D2C}"/>
          </ac:spMkLst>
        </pc:spChg>
        <pc:spChg chg="del">
          <ac:chgData name="Florian Faller" userId="4e496f4204a626e3" providerId="LiveId" clId="{9A21812C-E53D-4018-A66F-CEBBCC2D158E}" dt="2025-04-23T17:31:39.908" v="5460" actId="478"/>
          <ac:spMkLst>
            <pc:docMk/>
            <pc:sldMk cId="4276100321" sldId="313"/>
            <ac:spMk id="8" creationId="{B0B8ED00-3B6A-360C-05A7-A89278A16995}"/>
          </ac:spMkLst>
        </pc:spChg>
        <pc:spChg chg="del">
          <ac:chgData name="Florian Faller" userId="4e496f4204a626e3" providerId="LiveId" clId="{9A21812C-E53D-4018-A66F-CEBBCC2D158E}" dt="2025-04-23T17:31:39.908" v="5460" actId="478"/>
          <ac:spMkLst>
            <pc:docMk/>
            <pc:sldMk cId="4276100321" sldId="313"/>
            <ac:spMk id="9" creationId="{E07CCD0A-77B1-339E-B043-5CAFA0FDD1BF}"/>
          </ac:spMkLst>
        </pc:spChg>
        <pc:spChg chg="del">
          <ac:chgData name="Florian Faller" userId="4e496f4204a626e3" providerId="LiveId" clId="{9A21812C-E53D-4018-A66F-CEBBCC2D158E}" dt="2025-04-23T17:31:39.908" v="5460" actId="478"/>
          <ac:spMkLst>
            <pc:docMk/>
            <pc:sldMk cId="4276100321" sldId="313"/>
            <ac:spMk id="10" creationId="{7170217C-BB01-8D70-79DC-2494BBB56650}"/>
          </ac:spMkLst>
        </pc:spChg>
        <pc:spChg chg="del">
          <ac:chgData name="Florian Faller" userId="4e496f4204a626e3" providerId="LiveId" clId="{9A21812C-E53D-4018-A66F-CEBBCC2D158E}" dt="2025-04-23T17:31:39.908" v="5460" actId="478"/>
          <ac:spMkLst>
            <pc:docMk/>
            <pc:sldMk cId="4276100321" sldId="313"/>
            <ac:spMk id="11" creationId="{8A18B89C-3621-BEDB-F23E-9CB1C75FF3D8}"/>
          </ac:spMkLst>
        </pc:spChg>
        <pc:spChg chg="add mod ord">
          <ac:chgData name="Florian Faller" userId="4e496f4204a626e3" providerId="LiveId" clId="{9A21812C-E53D-4018-A66F-CEBBCC2D158E}" dt="2025-04-23T17:36:37.928" v="5746" actId="948"/>
          <ac:spMkLst>
            <pc:docMk/>
            <pc:sldMk cId="4276100321" sldId="313"/>
            <ac:spMk id="13" creationId="{5C3F12B3-5F7F-CFB0-3EE5-BC3EDDC7642A}"/>
          </ac:spMkLst>
        </pc:spChg>
        <pc:spChg chg="add mod">
          <ac:chgData name="Florian Faller" userId="4e496f4204a626e3" providerId="LiveId" clId="{9A21812C-E53D-4018-A66F-CEBBCC2D158E}" dt="2025-04-23T17:33:48.126" v="5543" actId="20577"/>
          <ac:spMkLst>
            <pc:docMk/>
            <pc:sldMk cId="4276100321" sldId="313"/>
            <ac:spMk id="14" creationId="{587CEEDB-F87E-5960-BF36-77F9C1B8A8E2}"/>
          </ac:spMkLst>
        </pc:spChg>
        <pc:spChg chg="add del mod modVis">
          <ac:chgData name="Florian Faller" userId="4e496f4204a626e3" providerId="LiveId" clId="{9A21812C-E53D-4018-A66F-CEBBCC2D158E}" dt="2025-04-23T17:33:38.148" v="5501"/>
          <ac:spMkLst>
            <pc:docMk/>
            <pc:sldMk cId="4276100321" sldId="313"/>
            <ac:spMk id="15" creationId="{BA485D40-211B-3757-BAC6-AB71E83BAC4C}"/>
          </ac:spMkLst>
        </pc:spChg>
        <pc:spChg chg="add del mod modVis">
          <ac:chgData name="Florian Faller" userId="4e496f4204a626e3" providerId="LiveId" clId="{9A21812C-E53D-4018-A66F-CEBBCC2D158E}" dt="2025-04-23T17:33:42.215" v="5529"/>
          <ac:spMkLst>
            <pc:docMk/>
            <pc:sldMk cId="4276100321" sldId="313"/>
            <ac:spMk id="16" creationId="{40DB9CFB-3030-DF85-4B2A-BC674D785F22}"/>
          </ac:spMkLst>
        </pc:spChg>
        <pc:spChg chg="add del mod modVis">
          <ac:chgData name="Florian Faller" userId="4e496f4204a626e3" providerId="LiveId" clId="{9A21812C-E53D-4018-A66F-CEBBCC2D158E}" dt="2025-04-23T17:33:53.300" v="5579"/>
          <ac:spMkLst>
            <pc:docMk/>
            <pc:sldMk cId="4276100321" sldId="313"/>
            <ac:spMk id="17" creationId="{D64A96B7-0D02-3F85-F9EF-B302A5FDF782}"/>
          </ac:spMkLst>
        </pc:spChg>
        <pc:spChg chg="add del mod modVis">
          <ac:chgData name="Florian Faller" userId="4e496f4204a626e3" providerId="LiveId" clId="{9A21812C-E53D-4018-A66F-CEBBCC2D158E}" dt="2025-04-23T17:33:57.370" v="5629"/>
          <ac:spMkLst>
            <pc:docMk/>
            <pc:sldMk cId="4276100321" sldId="313"/>
            <ac:spMk id="18" creationId="{1457C580-DC45-C69B-69EB-033C1BAA22F1}"/>
          </ac:spMkLst>
        </pc:spChg>
        <pc:spChg chg="add del mod modVis">
          <ac:chgData name="Florian Faller" userId="4e496f4204a626e3" providerId="LiveId" clId="{9A21812C-E53D-4018-A66F-CEBBCC2D158E}" dt="2025-04-23T17:34:00.896" v="5672"/>
          <ac:spMkLst>
            <pc:docMk/>
            <pc:sldMk cId="4276100321" sldId="313"/>
            <ac:spMk id="19" creationId="{0D3532C5-A937-AE8D-9C71-CD09F4348750}"/>
          </ac:spMkLst>
        </pc:spChg>
        <pc:spChg chg="add mod topLvl">
          <ac:chgData name="Florian Faller" userId="4e496f4204a626e3" providerId="LiveId" clId="{9A21812C-E53D-4018-A66F-CEBBCC2D158E}" dt="2025-04-23T17:38:13.011" v="5790" actId="20577"/>
          <ac:spMkLst>
            <pc:docMk/>
            <pc:sldMk cId="4276100321" sldId="313"/>
            <ac:spMk id="20" creationId="{909E2A33-4198-7258-9552-6DE6E9FA46F6}"/>
          </ac:spMkLst>
        </pc:spChg>
        <pc:spChg chg="add mod topLvl">
          <ac:chgData name="Florian Faller" userId="4e496f4204a626e3" providerId="LiveId" clId="{9A21812C-E53D-4018-A66F-CEBBCC2D158E}" dt="2025-04-23T17:37:56.185" v="5779" actId="14100"/>
          <ac:spMkLst>
            <pc:docMk/>
            <pc:sldMk cId="4276100321" sldId="313"/>
            <ac:spMk id="21" creationId="{5B64F0C1-402C-9BE2-BD5C-53FA5868431B}"/>
          </ac:spMkLst>
        </pc:spChg>
        <pc:spChg chg="add mod topLvl">
          <ac:chgData name="Florian Faller" userId="4e496f4204a626e3" providerId="LiveId" clId="{9A21812C-E53D-4018-A66F-CEBBCC2D158E}" dt="2025-04-23T21:06:25.543" v="9781" actId="14100"/>
          <ac:spMkLst>
            <pc:docMk/>
            <pc:sldMk cId="4276100321" sldId="313"/>
            <ac:spMk id="22" creationId="{03404CD6-9DFC-F5D7-E066-7A47E27AE88E}"/>
          </ac:spMkLst>
        </pc:spChg>
        <pc:spChg chg="add del mod">
          <ac:chgData name="Florian Faller" userId="4e496f4204a626e3" providerId="LiveId" clId="{9A21812C-E53D-4018-A66F-CEBBCC2D158E}" dt="2025-04-23T17:35:59.401" v="5687" actId="478"/>
          <ac:spMkLst>
            <pc:docMk/>
            <pc:sldMk cId="4276100321" sldId="313"/>
            <ac:spMk id="24" creationId="{8CDB44EC-7D22-D093-A603-54FB060CEC19}"/>
          </ac:spMkLst>
        </pc:spChg>
        <pc:spChg chg="add del mod modVis">
          <ac:chgData name="Florian Faller" userId="4e496f4204a626e3" providerId="LiveId" clId="{9A21812C-E53D-4018-A66F-CEBBCC2D158E}" dt="2025-04-23T17:36:33.120" v="5739" actId="962"/>
          <ac:spMkLst>
            <pc:docMk/>
            <pc:sldMk cId="4276100321" sldId="313"/>
            <ac:spMk id="25" creationId="{15BB4C97-9D5C-3302-01C2-3A1879DF2F83}"/>
          </ac:spMkLst>
        </pc:spChg>
        <pc:spChg chg="add del mod modVis">
          <ac:chgData name="Florian Faller" userId="4e496f4204a626e3" providerId="LiveId" clId="{9A21812C-E53D-4018-A66F-CEBBCC2D158E}" dt="2025-04-23T17:36:37.991" v="5770"/>
          <ac:spMkLst>
            <pc:docMk/>
            <pc:sldMk cId="4276100321" sldId="313"/>
            <ac:spMk id="26" creationId="{47DBD39A-B7BF-B7B2-CC05-29A1DEE96E9A}"/>
          </ac:spMkLst>
        </pc:spChg>
        <pc:spChg chg="add mod">
          <ac:chgData name="Florian Faller" userId="4e496f4204a626e3" providerId="LiveId" clId="{9A21812C-E53D-4018-A66F-CEBBCC2D158E}" dt="2025-04-23T21:02:59.697" v="9759" actId="20577"/>
          <ac:spMkLst>
            <pc:docMk/>
            <pc:sldMk cId="4276100321" sldId="313"/>
            <ac:spMk id="30" creationId="{A8303A32-BF88-5551-464B-637586E96E88}"/>
          </ac:spMkLst>
        </pc:spChg>
        <pc:spChg chg="add mod">
          <ac:chgData name="Florian Faller" userId="4e496f4204a626e3" providerId="LiveId" clId="{9A21812C-E53D-4018-A66F-CEBBCC2D158E}" dt="2025-04-23T21:02:29.865" v="9705" actId="20577"/>
          <ac:spMkLst>
            <pc:docMk/>
            <pc:sldMk cId="4276100321" sldId="313"/>
            <ac:spMk id="31" creationId="{2604A3F2-D754-58A7-EF5E-9C538F63267E}"/>
          </ac:spMkLst>
        </pc:spChg>
        <pc:spChg chg="add mod">
          <ac:chgData name="Florian Faller" userId="4e496f4204a626e3" providerId="LiveId" clId="{9A21812C-E53D-4018-A66F-CEBBCC2D158E}" dt="2025-04-23T21:06:51.269" v="9794" actId="1076"/>
          <ac:spMkLst>
            <pc:docMk/>
            <pc:sldMk cId="4276100321" sldId="313"/>
            <ac:spMk id="32" creationId="{9C5B0FBD-CFC5-93D0-7A8E-A24188FB5FEF}"/>
          </ac:spMkLst>
        </pc:spChg>
        <pc:spChg chg="add mod">
          <ac:chgData name="Florian Faller" userId="4e496f4204a626e3" providerId="LiveId" clId="{9A21812C-E53D-4018-A66F-CEBBCC2D158E}" dt="2025-04-23T21:07:36.661" v="9877" actId="1076"/>
          <ac:spMkLst>
            <pc:docMk/>
            <pc:sldMk cId="4276100321" sldId="313"/>
            <ac:spMk id="33" creationId="{608F6E18-99EB-8F7F-E9C2-C9E66461C81A}"/>
          </ac:spMkLst>
        </pc:spChg>
        <pc:spChg chg="add del mod">
          <ac:chgData name="Florian Faller" userId="4e496f4204a626e3" providerId="LiveId" clId="{9A21812C-E53D-4018-A66F-CEBBCC2D158E}" dt="2025-04-23T21:06:56.967" v="9795" actId="478"/>
          <ac:spMkLst>
            <pc:docMk/>
            <pc:sldMk cId="4276100321" sldId="313"/>
            <ac:spMk id="34" creationId="{4C105325-30FB-16B9-32A5-C7E3A3C2C40B}"/>
          </ac:spMkLst>
        </pc:spChg>
        <pc:grpChg chg="add del mod">
          <ac:chgData name="Florian Faller" userId="4e496f4204a626e3" providerId="LiveId" clId="{9A21812C-E53D-4018-A66F-CEBBCC2D158E}" dt="2025-04-23T17:37:21.471" v="5774" actId="165"/>
          <ac:grpSpMkLst>
            <pc:docMk/>
            <pc:sldMk cId="4276100321" sldId="313"/>
            <ac:grpSpMk id="23" creationId="{DE460904-5189-A350-290E-05EBCFD3DD01}"/>
          </ac:grpSpMkLst>
        </pc:grpChg>
        <pc:graphicFrameChg chg="add mod ord modVis">
          <ac:chgData name="Florian Faller" userId="4e496f4204a626e3" providerId="LiveId" clId="{9A21812C-E53D-4018-A66F-CEBBCC2D158E}" dt="2025-04-23T17:36:37.991" v="5772"/>
          <ac:graphicFrameMkLst>
            <pc:docMk/>
            <pc:sldMk cId="4276100321" sldId="313"/>
            <ac:graphicFrameMk id="12" creationId="{51AF8459-2C1E-8E24-83B3-3C7AED0A2A1E}"/>
          </ac:graphicFrameMkLst>
        </pc:graphicFrameChg>
      </pc:sldChg>
      <pc:sldChg chg="addSp delSp modSp add mod modAnim">
        <pc:chgData name="Florian Faller" userId="4e496f4204a626e3" providerId="LiveId" clId="{9A21812C-E53D-4018-A66F-CEBBCC2D158E}" dt="2025-04-24T08:47:06.144" v="15257"/>
        <pc:sldMkLst>
          <pc:docMk/>
          <pc:sldMk cId="1338676740" sldId="314"/>
        </pc:sldMkLst>
        <pc:spChg chg="mod">
          <ac:chgData name="Florian Faller" userId="4e496f4204a626e3" providerId="LiveId" clId="{9A21812C-E53D-4018-A66F-CEBBCC2D158E}" dt="2025-04-23T19:07:41.938" v="7836" actId="164"/>
          <ac:spMkLst>
            <pc:docMk/>
            <pc:sldMk cId="1338676740" sldId="314"/>
            <ac:spMk id="6" creationId="{374A944C-8CC9-8BFC-164F-83A85A3B7CF4}"/>
          </ac:spMkLst>
        </pc:spChg>
        <pc:spChg chg="add mod">
          <ac:chgData name="Florian Faller" userId="4e496f4204a626e3" providerId="LiveId" clId="{9A21812C-E53D-4018-A66F-CEBBCC2D158E}" dt="2025-04-23T17:44:57.245" v="5932"/>
          <ac:spMkLst>
            <pc:docMk/>
            <pc:sldMk cId="1338676740" sldId="314"/>
            <ac:spMk id="6" creationId="{ADACE3E4-E620-4F66-F138-782DF708739B}"/>
          </ac:spMkLst>
        </pc:spChg>
        <pc:spChg chg="add mod">
          <ac:chgData name="Florian Faller" userId="4e496f4204a626e3" providerId="LiveId" clId="{9A21812C-E53D-4018-A66F-CEBBCC2D158E}" dt="2025-04-23T17:44:56.575" v="5931" actId="2085"/>
          <ac:spMkLst>
            <pc:docMk/>
            <pc:sldMk cId="1338676740" sldId="314"/>
            <ac:spMk id="7" creationId="{1E671BE8-DD0E-0D07-8C38-87131A7BABA8}"/>
          </ac:spMkLst>
        </pc:spChg>
        <pc:spChg chg="mod">
          <ac:chgData name="Florian Faller" userId="4e496f4204a626e3" providerId="LiveId" clId="{9A21812C-E53D-4018-A66F-CEBBCC2D158E}" dt="2025-04-23T19:07:38.518" v="7835" actId="164"/>
          <ac:spMkLst>
            <pc:docMk/>
            <pc:sldMk cId="1338676740" sldId="314"/>
            <ac:spMk id="7" creationId="{7AFC1E49-2405-E12A-5505-E377091BD669}"/>
          </ac:spMkLst>
        </pc:spChg>
        <pc:spChg chg="add mod">
          <ac:chgData name="Florian Faller" userId="4e496f4204a626e3" providerId="LiveId" clId="{9A21812C-E53D-4018-A66F-CEBBCC2D158E}" dt="2025-04-23T17:45:02.219" v="5936"/>
          <ac:spMkLst>
            <pc:docMk/>
            <pc:sldMk cId="1338676740" sldId="314"/>
            <ac:spMk id="8" creationId="{37091783-DC93-C8A9-56F3-DD3F72222CC4}"/>
          </ac:spMkLst>
        </pc:spChg>
        <pc:spChg chg="add mod">
          <ac:chgData name="Florian Faller" userId="4e496f4204a626e3" providerId="LiveId" clId="{9A21812C-E53D-4018-A66F-CEBBCC2D158E}" dt="2025-04-23T17:44:58.538" v="5933"/>
          <ac:spMkLst>
            <pc:docMk/>
            <pc:sldMk cId="1338676740" sldId="314"/>
            <ac:spMk id="9" creationId="{82C4F973-CD68-5C5E-9CB9-026539829D99}"/>
          </ac:spMkLst>
        </pc:spChg>
        <pc:spChg chg="mod">
          <ac:chgData name="Florian Faller" userId="4e496f4204a626e3" providerId="LiveId" clId="{9A21812C-E53D-4018-A66F-CEBBCC2D158E}" dt="2025-04-23T18:06:51.749" v="6350" actId="948"/>
          <ac:spMkLst>
            <pc:docMk/>
            <pc:sldMk cId="1338676740" sldId="314"/>
            <ac:spMk id="13" creationId="{AF47C9AC-C046-DE8E-967C-EB1CF27F326F}"/>
          </ac:spMkLst>
        </pc:spChg>
        <pc:spChg chg="add del mod">
          <ac:chgData name="Florian Faller" userId="4e496f4204a626e3" providerId="LiveId" clId="{9A21812C-E53D-4018-A66F-CEBBCC2D158E}" dt="2025-04-23T17:47:30.441" v="6052"/>
          <ac:spMkLst>
            <pc:docMk/>
            <pc:sldMk cId="1338676740" sldId="314"/>
            <ac:spMk id="17" creationId="{3DC4DEA2-1151-A327-B47C-A509DCE57CF2}"/>
          </ac:spMkLst>
        </pc:spChg>
        <pc:spChg chg="add del mod">
          <ac:chgData name="Florian Faller" userId="4e496f4204a626e3" providerId="LiveId" clId="{9A21812C-E53D-4018-A66F-CEBBCC2D158E}" dt="2025-04-23T17:53:31.389" v="6103" actId="478"/>
          <ac:spMkLst>
            <pc:docMk/>
            <pc:sldMk cId="1338676740" sldId="314"/>
            <ac:spMk id="18" creationId="{F37C08AC-4B59-713C-F0D9-659CDC30AFB3}"/>
          </ac:spMkLst>
        </pc:spChg>
        <pc:spChg chg="add mod">
          <ac:chgData name="Florian Faller" userId="4e496f4204a626e3" providerId="LiveId" clId="{9A21812C-E53D-4018-A66F-CEBBCC2D158E}" dt="2025-04-23T19:09:12.400" v="7849" actId="1076"/>
          <ac:spMkLst>
            <pc:docMk/>
            <pc:sldMk cId="1338676740" sldId="314"/>
            <ac:spMk id="19" creationId="{9008F404-F391-6D88-B17E-1C5DB703442C}"/>
          </ac:spMkLst>
        </pc:spChg>
        <pc:spChg chg="del">
          <ac:chgData name="Florian Faller" userId="4e496f4204a626e3" providerId="LiveId" clId="{9A21812C-E53D-4018-A66F-CEBBCC2D158E}" dt="2025-04-23T17:43:04.282" v="5919" actId="478"/>
          <ac:spMkLst>
            <pc:docMk/>
            <pc:sldMk cId="1338676740" sldId="314"/>
            <ac:spMk id="20" creationId="{ADCBAA28-AD86-F2DF-CF59-70963464AC49}"/>
          </ac:spMkLst>
        </pc:spChg>
        <pc:spChg chg="del">
          <ac:chgData name="Florian Faller" userId="4e496f4204a626e3" providerId="LiveId" clId="{9A21812C-E53D-4018-A66F-CEBBCC2D158E}" dt="2025-04-23T17:43:04.282" v="5919" actId="478"/>
          <ac:spMkLst>
            <pc:docMk/>
            <pc:sldMk cId="1338676740" sldId="314"/>
            <ac:spMk id="21" creationId="{0599C642-38E9-DE2B-4613-47F6BD0167AE}"/>
          </ac:spMkLst>
        </pc:spChg>
        <pc:spChg chg="del">
          <ac:chgData name="Florian Faller" userId="4e496f4204a626e3" providerId="LiveId" clId="{9A21812C-E53D-4018-A66F-CEBBCC2D158E}" dt="2025-04-23T17:43:04.282" v="5919" actId="478"/>
          <ac:spMkLst>
            <pc:docMk/>
            <pc:sldMk cId="1338676740" sldId="314"/>
            <ac:spMk id="22" creationId="{60C84A30-FE0F-F77F-A0A4-35994312E0E9}"/>
          </ac:spMkLst>
        </pc:spChg>
        <pc:spChg chg="add mod">
          <ac:chgData name="Florian Faller" userId="4e496f4204a626e3" providerId="LiveId" clId="{9A21812C-E53D-4018-A66F-CEBBCC2D158E}" dt="2025-04-23T19:07:27.526" v="7834" actId="164"/>
          <ac:spMkLst>
            <pc:docMk/>
            <pc:sldMk cId="1338676740" sldId="314"/>
            <ac:spMk id="23" creationId="{A8E9E532-3A83-0D69-062F-1788EBFD9148}"/>
          </ac:spMkLst>
        </pc:spChg>
        <pc:spChg chg="add del mod">
          <ac:chgData name="Florian Faller" userId="4e496f4204a626e3" providerId="LiveId" clId="{9A21812C-E53D-4018-A66F-CEBBCC2D158E}" dt="2025-04-23T18:07:15.293" v="6392" actId="478"/>
          <ac:spMkLst>
            <pc:docMk/>
            <pc:sldMk cId="1338676740" sldId="314"/>
            <ac:spMk id="24" creationId="{B3F2E0B7-E311-EB9A-DBA7-05237AD11895}"/>
          </ac:spMkLst>
        </pc:spChg>
        <pc:spChg chg="add mod">
          <ac:chgData name="Florian Faller" userId="4e496f4204a626e3" providerId="LiveId" clId="{9A21812C-E53D-4018-A66F-CEBBCC2D158E}" dt="2025-04-23T18:07:13.175" v="6391" actId="20577"/>
          <ac:spMkLst>
            <pc:docMk/>
            <pc:sldMk cId="1338676740" sldId="314"/>
            <ac:spMk id="25" creationId="{A75E320C-9E47-5CEE-7715-B7780B92A63A}"/>
          </ac:spMkLst>
        </pc:spChg>
        <pc:spChg chg="add mod">
          <ac:chgData name="Florian Faller" userId="4e496f4204a626e3" providerId="LiveId" clId="{9A21812C-E53D-4018-A66F-CEBBCC2D158E}" dt="2025-04-23T18:07:34.397" v="6424" actId="20577"/>
          <ac:spMkLst>
            <pc:docMk/>
            <pc:sldMk cId="1338676740" sldId="314"/>
            <ac:spMk id="26" creationId="{02E3B5EB-AF7B-F48B-636B-677334485B1B}"/>
          </ac:spMkLst>
        </pc:spChg>
        <pc:spChg chg="del">
          <ac:chgData name="Florian Faller" userId="4e496f4204a626e3" providerId="LiveId" clId="{9A21812C-E53D-4018-A66F-CEBBCC2D158E}" dt="2025-04-23T17:43:04.282" v="5919" actId="478"/>
          <ac:spMkLst>
            <pc:docMk/>
            <pc:sldMk cId="1338676740" sldId="314"/>
            <ac:spMk id="30" creationId="{3BD4DD1D-8BF7-C167-0AFA-DD5C796BD1E8}"/>
          </ac:spMkLst>
        </pc:spChg>
        <pc:spChg chg="del">
          <ac:chgData name="Florian Faller" userId="4e496f4204a626e3" providerId="LiveId" clId="{9A21812C-E53D-4018-A66F-CEBBCC2D158E}" dt="2025-04-23T17:43:04.282" v="5919" actId="478"/>
          <ac:spMkLst>
            <pc:docMk/>
            <pc:sldMk cId="1338676740" sldId="314"/>
            <ac:spMk id="31" creationId="{2D420EE1-6749-9621-4550-6B4D67D5A008}"/>
          </ac:spMkLst>
        </pc:spChg>
        <pc:spChg chg="del">
          <ac:chgData name="Florian Faller" userId="4e496f4204a626e3" providerId="LiveId" clId="{9A21812C-E53D-4018-A66F-CEBBCC2D158E}" dt="2025-04-23T17:43:04.282" v="5919" actId="478"/>
          <ac:spMkLst>
            <pc:docMk/>
            <pc:sldMk cId="1338676740" sldId="314"/>
            <ac:spMk id="32" creationId="{A5FCDB48-D2D6-1D5A-5CFD-86361FB7F1F9}"/>
          </ac:spMkLst>
        </pc:spChg>
        <pc:spChg chg="add mod">
          <ac:chgData name="Florian Faller" userId="4e496f4204a626e3" providerId="LiveId" clId="{9A21812C-E53D-4018-A66F-CEBBCC2D158E}" dt="2025-04-23T18:06:16.577" v="6158" actId="164"/>
          <ac:spMkLst>
            <pc:docMk/>
            <pc:sldMk cId="1338676740" sldId="314"/>
            <ac:spMk id="39" creationId="{63D73610-6124-A07B-2015-798103B07720}"/>
          </ac:spMkLst>
        </pc:spChg>
        <pc:spChg chg="add mod">
          <ac:chgData name="Florian Faller" userId="4e496f4204a626e3" providerId="LiveId" clId="{9A21812C-E53D-4018-A66F-CEBBCC2D158E}" dt="2025-04-23T19:07:41.938" v="7836" actId="164"/>
          <ac:spMkLst>
            <pc:docMk/>
            <pc:sldMk cId="1338676740" sldId="314"/>
            <ac:spMk id="40" creationId="{FBE4F681-00DD-F15C-5633-6C27E4FDB31A}"/>
          </ac:spMkLst>
        </pc:spChg>
        <pc:spChg chg="add mod">
          <ac:chgData name="Florian Faller" userId="4e496f4204a626e3" providerId="LiveId" clId="{9A21812C-E53D-4018-A66F-CEBBCC2D158E}" dt="2025-04-23T18:06:18.790" v="6159" actId="164"/>
          <ac:spMkLst>
            <pc:docMk/>
            <pc:sldMk cId="1338676740" sldId="314"/>
            <ac:spMk id="41" creationId="{C8F076CE-FD90-B176-B2FE-E279AE523D9C}"/>
          </ac:spMkLst>
        </pc:spChg>
        <pc:spChg chg="add del mod">
          <ac:chgData name="Florian Faller" userId="4e496f4204a626e3" providerId="LiveId" clId="{9A21812C-E53D-4018-A66F-CEBBCC2D158E}" dt="2025-04-23T18:05:56.820" v="6152" actId="478"/>
          <ac:spMkLst>
            <pc:docMk/>
            <pc:sldMk cId="1338676740" sldId="314"/>
            <ac:spMk id="42" creationId="{C3DA402F-2997-C565-61C2-D482ACBA7E54}"/>
          </ac:spMkLst>
        </pc:spChg>
        <pc:spChg chg="add del mod modVis">
          <ac:chgData name="Florian Faller" userId="4e496f4204a626e3" providerId="LiveId" clId="{9A21812C-E53D-4018-A66F-CEBBCC2D158E}" dt="2025-04-23T18:06:40.251" v="6225"/>
          <ac:spMkLst>
            <pc:docMk/>
            <pc:sldMk cId="1338676740" sldId="314"/>
            <ac:spMk id="48" creationId="{F832B069-D025-AE1C-A282-EDF311BF77DA}"/>
          </ac:spMkLst>
        </pc:spChg>
        <pc:spChg chg="add del mod modVis">
          <ac:chgData name="Florian Faller" userId="4e496f4204a626e3" providerId="LiveId" clId="{9A21812C-E53D-4018-A66F-CEBBCC2D158E}" dt="2025-04-23T18:06:43.127" v="6253"/>
          <ac:spMkLst>
            <pc:docMk/>
            <pc:sldMk cId="1338676740" sldId="314"/>
            <ac:spMk id="49" creationId="{2F8F5A1C-2E55-E8C5-29FC-19850377A7E2}"/>
          </ac:spMkLst>
        </pc:spChg>
        <pc:spChg chg="add del mod modVis">
          <ac:chgData name="Florian Faller" userId="4e496f4204a626e3" providerId="LiveId" clId="{9A21812C-E53D-4018-A66F-CEBBCC2D158E}" dt="2025-04-23T18:06:45.204" v="6283"/>
          <ac:spMkLst>
            <pc:docMk/>
            <pc:sldMk cId="1338676740" sldId="314"/>
            <ac:spMk id="50" creationId="{241294D9-85D1-449E-E243-AFB55894B0C0}"/>
          </ac:spMkLst>
        </pc:spChg>
        <pc:spChg chg="add del mod modVis">
          <ac:chgData name="Florian Faller" userId="4e496f4204a626e3" providerId="LiveId" clId="{9A21812C-E53D-4018-A66F-CEBBCC2D158E}" dt="2025-04-23T18:06:47.780" v="6318"/>
          <ac:spMkLst>
            <pc:docMk/>
            <pc:sldMk cId="1338676740" sldId="314"/>
            <ac:spMk id="51" creationId="{6899B2A8-8A55-42B0-50C2-69FE9D01CBC9}"/>
          </ac:spMkLst>
        </pc:spChg>
        <pc:spChg chg="add del mod modVis">
          <ac:chgData name="Florian Faller" userId="4e496f4204a626e3" providerId="LiveId" clId="{9A21812C-E53D-4018-A66F-CEBBCC2D158E}" dt="2025-04-23T18:06:49.254" v="6346"/>
          <ac:spMkLst>
            <pc:docMk/>
            <pc:sldMk cId="1338676740" sldId="314"/>
            <ac:spMk id="52" creationId="{AD5A994F-F318-B701-7B77-F4991E561006}"/>
          </ac:spMkLst>
        </pc:spChg>
        <pc:spChg chg="add del mod modVis">
          <ac:chgData name="Florian Faller" userId="4e496f4204a626e3" providerId="LiveId" clId="{9A21812C-E53D-4018-A66F-CEBBCC2D158E}" dt="2025-04-23T18:06:51.840" v="6374"/>
          <ac:spMkLst>
            <pc:docMk/>
            <pc:sldMk cId="1338676740" sldId="314"/>
            <ac:spMk id="53" creationId="{7C710518-DE93-16FF-DE34-36ECF9FAF7B8}"/>
          </ac:spMkLst>
        </pc:spChg>
        <pc:grpChg chg="add mod">
          <ac:chgData name="Florian Faller" userId="4e496f4204a626e3" providerId="LiveId" clId="{9A21812C-E53D-4018-A66F-CEBBCC2D158E}" dt="2025-04-23T19:07:27.526" v="7834" actId="164"/>
          <ac:grpSpMkLst>
            <pc:docMk/>
            <pc:sldMk cId="1338676740" sldId="314"/>
            <ac:grpSpMk id="37" creationId="{4C6618E8-0417-3DCD-05BF-2E84C928C469}"/>
          </ac:grpSpMkLst>
        </pc:grpChg>
        <pc:grpChg chg="add mod">
          <ac:chgData name="Florian Faller" userId="4e496f4204a626e3" providerId="LiveId" clId="{9A21812C-E53D-4018-A66F-CEBBCC2D158E}" dt="2025-04-23T19:09:12.400" v="7849" actId="1076"/>
          <ac:grpSpMkLst>
            <pc:docMk/>
            <pc:sldMk cId="1338676740" sldId="314"/>
            <ac:grpSpMk id="38" creationId="{32169D02-5A72-B70C-5650-9A47570CD235}"/>
          </ac:grpSpMkLst>
        </pc:grpChg>
        <pc:grpChg chg="add mod">
          <ac:chgData name="Florian Faller" userId="4e496f4204a626e3" providerId="LiveId" clId="{9A21812C-E53D-4018-A66F-CEBBCC2D158E}" dt="2025-04-23T19:07:38.518" v="7835" actId="164"/>
          <ac:grpSpMkLst>
            <pc:docMk/>
            <pc:sldMk cId="1338676740" sldId="314"/>
            <ac:grpSpMk id="46" creationId="{B2A93CFC-B3A5-BCC7-15C4-5CC8C9B17186}"/>
          </ac:grpSpMkLst>
        </pc:grpChg>
        <pc:grpChg chg="add mod">
          <ac:chgData name="Florian Faller" userId="4e496f4204a626e3" providerId="LiveId" clId="{9A21812C-E53D-4018-A66F-CEBBCC2D158E}" dt="2025-04-23T19:07:41.938" v="7836" actId="164"/>
          <ac:grpSpMkLst>
            <pc:docMk/>
            <pc:sldMk cId="1338676740" sldId="314"/>
            <ac:grpSpMk id="47" creationId="{70B04A9E-73CE-0960-5CF3-2DB51F17CC15}"/>
          </ac:grpSpMkLst>
        </pc:grpChg>
        <pc:grpChg chg="add mod">
          <ac:chgData name="Florian Faller" userId="4e496f4204a626e3" providerId="LiveId" clId="{9A21812C-E53D-4018-A66F-CEBBCC2D158E}" dt="2025-04-23T19:09:12.400" v="7849" actId="1076"/>
          <ac:grpSpMkLst>
            <pc:docMk/>
            <pc:sldMk cId="1338676740" sldId="314"/>
            <ac:grpSpMk id="54" creationId="{2425C97C-E5B3-8E59-02B7-AD84B71E9604}"/>
          </ac:grpSpMkLst>
        </pc:grpChg>
        <pc:grpChg chg="add mod">
          <ac:chgData name="Florian Faller" userId="4e496f4204a626e3" providerId="LiveId" clId="{9A21812C-E53D-4018-A66F-CEBBCC2D158E}" dt="2025-04-23T19:09:12.400" v="7849" actId="1076"/>
          <ac:grpSpMkLst>
            <pc:docMk/>
            <pc:sldMk cId="1338676740" sldId="314"/>
            <ac:grpSpMk id="55" creationId="{8F4B70C6-39A3-B285-70B1-857789F62F43}"/>
          </ac:grpSpMkLst>
        </pc:grpChg>
        <pc:grpChg chg="add mod">
          <ac:chgData name="Florian Faller" userId="4e496f4204a626e3" providerId="LiveId" clId="{9A21812C-E53D-4018-A66F-CEBBCC2D158E}" dt="2025-04-23T19:09:12.400" v="7849" actId="1076"/>
          <ac:grpSpMkLst>
            <pc:docMk/>
            <pc:sldMk cId="1338676740" sldId="314"/>
            <ac:grpSpMk id="56" creationId="{1CA3C17A-FCEA-EDF7-04FD-D37D82B4AA93}"/>
          </ac:grpSpMkLst>
        </pc:grpChg>
        <pc:graphicFrameChg chg="mod">
          <ac:chgData name="Florian Faller" userId="4e496f4204a626e3" providerId="LiveId" clId="{9A21812C-E53D-4018-A66F-CEBBCC2D158E}" dt="2025-04-23T18:06:51.845" v="6376"/>
          <ac:graphicFrameMkLst>
            <pc:docMk/>
            <pc:sldMk cId="1338676740" sldId="314"/>
            <ac:graphicFrameMk id="12" creationId="{6C48F5FC-3FF1-69C2-9A7B-20C96CF57F2C}"/>
          </ac:graphicFrameMkLst>
        </pc:graphicFrameChg>
        <pc:picChg chg="add del mod">
          <ac:chgData name="Florian Faller" userId="4e496f4204a626e3" providerId="LiveId" clId="{9A21812C-E53D-4018-A66F-CEBBCC2D158E}" dt="2025-04-23T17:45:32.231" v="5947" actId="478"/>
          <ac:picMkLst>
            <pc:docMk/>
            <pc:sldMk cId="1338676740" sldId="314"/>
            <ac:picMk id="10" creationId="{8E4DCA80-0C8E-7620-C7BF-0036A990B9AC}"/>
          </ac:picMkLst>
        </pc:picChg>
        <pc:cxnChg chg="add del mod">
          <ac:chgData name="Florian Faller" userId="4e496f4204a626e3" providerId="LiveId" clId="{9A21812C-E53D-4018-A66F-CEBBCC2D158E}" dt="2025-04-23T17:53:33.205" v="6104" actId="478"/>
          <ac:cxnSpMkLst>
            <pc:docMk/>
            <pc:sldMk cId="1338676740" sldId="314"/>
            <ac:cxnSpMk id="3" creationId="{29F5E32F-EDDC-5A4C-9DBB-9E6B9B76F04B}"/>
          </ac:cxnSpMkLst>
        </pc:cxnChg>
        <pc:cxnChg chg="add del mod">
          <ac:chgData name="Florian Faller" userId="4e496f4204a626e3" providerId="LiveId" clId="{9A21812C-E53D-4018-A66F-CEBBCC2D158E}" dt="2025-04-23T17:46:15.815" v="5984" actId="478"/>
          <ac:cxnSpMkLst>
            <pc:docMk/>
            <pc:sldMk cId="1338676740" sldId="314"/>
            <ac:cxnSpMk id="4" creationId="{41917BD6-30B0-FC4E-F986-719B60F6795D}"/>
          </ac:cxnSpMkLst>
        </pc:cxnChg>
        <pc:cxnChg chg="add mod">
          <ac:chgData name="Florian Faller" userId="4e496f4204a626e3" providerId="LiveId" clId="{9A21812C-E53D-4018-A66F-CEBBCC2D158E}" dt="2025-04-23T17:53:06.602" v="6098" actId="164"/>
          <ac:cxnSpMkLst>
            <pc:docMk/>
            <pc:sldMk cId="1338676740" sldId="314"/>
            <ac:cxnSpMk id="34" creationId="{8D652B20-E6C8-3A3D-F346-65C72497FF29}"/>
          </ac:cxnSpMkLst>
        </pc:cxnChg>
        <pc:cxnChg chg="add mod">
          <ac:chgData name="Florian Faller" userId="4e496f4204a626e3" providerId="LiveId" clId="{9A21812C-E53D-4018-A66F-CEBBCC2D158E}" dt="2025-04-23T17:53:09.434" v="6099" actId="164"/>
          <ac:cxnSpMkLst>
            <pc:docMk/>
            <pc:sldMk cId="1338676740" sldId="314"/>
            <ac:cxnSpMk id="36" creationId="{4B796AAA-56FF-81AD-C399-8E28763FBCFB}"/>
          </ac:cxnSpMkLst>
        </pc:cxnChg>
        <pc:cxnChg chg="add mod">
          <ac:chgData name="Florian Faller" userId="4e496f4204a626e3" providerId="LiveId" clId="{9A21812C-E53D-4018-A66F-CEBBCC2D158E}" dt="2025-04-23T18:06:16.577" v="6158" actId="164"/>
          <ac:cxnSpMkLst>
            <pc:docMk/>
            <pc:sldMk cId="1338676740" sldId="314"/>
            <ac:cxnSpMk id="44" creationId="{217E3B3B-3D7F-3806-22E8-7139A27DB267}"/>
          </ac:cxnSpMkLst>
        </pc:cxnChg>
        <pc:cxnChg chg="add mod">
          <ac:chgData name="Florian Faller" userId="4e496f4204a626e3" providerId="LiveId" clId="{9A21812C-E53D-4018-A66F-CEBBCC2D158E}" dt="2025-04-23T18:06:18.790" v="6159" actId="164"/>
          <ac:cxnSpMkLst>
            <pc:docMk/>
            <pc:sldMk cId="1338676740" sldId="314"/>
            <ac:cxnSpMk id="45" creationId="{CAC2C0E7-E425-8755-1E2C-02659717CE88}"/>
          </ac:cxnSpMkLst>
        </pc:cxnChg>
      </pc:sldChg>
      <pc:sldChg chg="addSp delSp modSp add del mod">
        <pc:chgData name="Florian Faller" userId="4e496f4204a626e3" providerId="LiveId" clId="{9A21812C-E53D-4018-A66F-CEBBCC2D158E}" dt="2025-04-23T18:33:42.909" v="7200" actId="47"/>
        <pc:sldMkLst>
          <pc:docMk/>
          <pc:sldMk cId="512602239" sldId="315"/>
        </pc:sldMkLst>
        <pc:spChg chg="mod">
          <ac:chgData name="Florian Faller" userId="4e496f4204a626e3" providerId="LiveId" clId="{9A21812C-E53D-4018-A66F-CEBBCC2D158E}" dt="2025-04-23T18:08:16.574" v="6443" actId="20577"/>
          <ac:spMkLst>
            <pc:docMk/>
            <pc:sldMk cId="512602239" sldId="315"/>
            <ac:spMk id="2" creationId="{C09C9F76-5863-3F83-BB22-3683539FB26B}"/>
          </ac:spMkLst>
        </pc:spChg>
        <pc:spChg chg="mod">
          <ac:chgData name="Florian Faller" userId="4e496f4204a626e3" providerId="LiveId" clId="{9A21812C-E53D-4018-A66F-CEBBCC2D158E}" dt="2025-04-23T18:08:11.588" v="6435" actId="20577"/>
          <ac:spMkLst>
            <pc:docMk/>
            <pc:sldMk cId="512602239" sldId="315"/>
            <ac:spMk id="3" creationId="{49F18B66-CFCF-0CE9-68E6-BBD89F32EBCB}"/>
          </ac:spMkLst>
        </pc:spChg>
        <pc:spChg chg="add del mod">
          <ac:chgData name="Florian Faller" userId="4e496f4204a626e3" providerId="LiveId" clId="{9A21812C-E53D-4018-A66F-CEBBCC2D158E}" dt="2025-04-23T18:08:24.260" v="6455" actId="478"/>
          <ac:spMkLst>
            <pc:docMk/>
            <pc:sldMk cId="512602239" sldId="315"/>
            <ac:spMk id="4" creationId="{3951A4F7-5596-036C-DE59-1D3AFBDCDDA9}"/>
          </ac:spMkLst>
        </pc:spChg>
        <pc:spChg chg="mod">
          <ac:chgData name="Florian Faller" userId="4e496f4204a626e3" providerId="LiveId" clId="{9A21812C-E53D-4018-A66F-CEBBCC2D158E}" dt="2025-04-23T18:11:54.871" v="6526" actId="1076"/>
          <ac:spMkLst>
            <pc:docMk/>
            <pc:sldMk cId="512602239" sldId="315"/>
            <ac:spMk id="5" creationId="{20FE5C86-51F3-D8BC-F8AB-250DB250A3A4}"/>
          </ac:spMkLst>
        </pc:spChg>
        <pc:spChg chg="add del mod">
          <ac:chgData name="Florian Faller" userId="4e496f4204a626e3" providerId="LiveId" clId="{9A21812C-E53D-4018-A66F-CEBBCC2D158E}" dt="2025-04-23T18:08:52.773" v="6504" actId="478"/>
          <ac:spMkLst>
            <pc:docMk/>
            <pc:sldMk cId="512602239" sldId="315"/>
            <ac:spMk id="9" creationId="{3E8DD63A-713A-C2EB-0C7F-D088C1B4BC66}"/>
          </ac:spMkLst>
        </pc:spChg>
        <pc:spChg chg="add mod">
          <ac:chgData name="Florian Faller" userId="4e496f4204a626e3" providerId="LiveId" clId="{9A21812C-E53D-4018-A66F-CEBBCC2D158E}" dt="2025-04-23T18:11:54.871" v="6526" actId="1076"/>
          <ac:spMkLst>
            <pc:docMk/>
            <pc:sldMk cId="512602239" sldId="315"/>
            <ac:spMk id="10" creationId="{BFEA5BB2-92AB-0E82-E394-2C710A10FB17}"/>
          </ac:spMkLst>
        </pc:spChg>
        <pc:spChg chg="add del">
          <ac:chgData name="Florian Faller" userId="4e496f4204a626e3" providerId="LiveId" clId="{9A21812C-E53D-4018-A66F-CEBBCC2D158E}" dt="2025-04-23T18:11:29.479" v="6523" actId="478"/>
          <ac:spMkLst>
            <pc:docMk/>
            <pc:sldMk cId="512602239" sldId="315"/>
            <ac:spMk id="11" creationId="{0EC80F0F-EADB-B76C-01D2-376594C2FA7E}"/>
          </ac:spMkLst>
        </pc:spChg>
        <pc:graphicFrameChg chg="add mod modGraphic">
          <ac:chgData name="Florian Faller" userId="4e496f4204a626e3" providerId="LiveId" clId="{9A21812C-E53D-4018-A66F-CEBBCC2D158E}" dt="2025-04-23T18:14:22.418" v="6708" actId="1076"/>
          <ac:graphicFrameMkLst>
            <pc:docMk/>
            <pc:sldMk cId="512602239" sldId="315"/>
            <ac:graphicFrameMk id="12" creationId="{448C200E-B324-8E7A-516C-B34C948D5315}"/>
          </ac:graphicFrameMkLst>
        </pc:graphicFrameChg>
      </pc:sldChg>
      <pc:sldChg chg="addSp delSp modSp add mod setBg delAnim modAnim">
        <pc:chgData name="Florian Faller" userId="4e496f4204a626e3" providerId="LiveId" clId="{9A21812C-E53D-4018-A66F-CEBBCC2D158E}" dt="2025-04-24T09:34:50.767" v="16369"/>
        <pc:sldMkLst>
          <pc:docMk/>
          <pc:sldMk cId="3327734167" sldId="316"/>
        </pc:sldMkLst>
        <pc:spChg chg="mod ord">
          <ac:chgData name="Florian Faller" userId="4e496f4204a626e3" providerId="LiveId" clId="{9A21812C-E53D-4018-A66F-CEBBCC2D158E}" dt="2025-04-24T09:31:15.348" v="16355" actId="20577"/>
          <ac:spMkLst>
            <pc:docMk/>
            <pc:sldMk cId="3327734167" sldId="316"/>
            <ac:spMk id="2" creationId="{F23BE05D-6B1E-A6B1-4FDF-0F4A76E2AC46}"/>
          </ac:spMkLst>
        </pc:spChg>
        <pc:spChg chg="mod ord">
          <ac:chgData name="Florian Faller" userId="4e496f4204a626e3" providerId="LiveId" clId="{9A21812C-E53D-4018-A66F-CEBBCC2D158E}" dt="2025-04-24T07:14:49.918" v="12770"/>
          <ac:spMkLst>
            <pc:docMk/>
            <pc:sldMk cId="3327734167" sldId="316"/>
            <ac:spMk id="3" creationId="{0070BCA9-40AC-1DE0-6504-69C76594D01D}"/>
          </ac:spMkLst>
        </pc:spChg>
        <pc:spChg chg="add mod">
          <ac:chgData name="Florian Faller" userId="4e496f4204a626e3" providerId="LiveId" clId="{9A21812C-E53D-4018-A66F-CEBBCC2D158E}" dt="2025-04-24T06:38:11.399" v="12171" actId="164"/>
          <ac:spMkLst>
            <pc:docMk/>
            <pc:sldMk cId="3327734167" sldId="316"/>
            <ac:spMk id="4" creationId="{1B000271-6FA5-FB93-34E5-739F3CDD531A}"/>
          </ac:spMkLst>
        </pc:spChg>
        <pc:spChg chg="del">
          <ac:chgData name="Florian Faller" userId="4e496f4204a626e3" providerId="LiveId" clId="{9A21812C-E53D-4018-A66F-CEBBCC2D158E}" dt="2025-04-23T18:24:32.119" v="6768" actId="478"/>
          <ac:spMkLst>
            <pc:docMk/>
            <pc:sldMk cId="3327734167" sldId="316"/>
            <ac:spMk id="5" creationId="{A23BEF0E-5DFE-FABE-C0F9-B1881040FA06}"/>
          </ac:spMkLst>
        </pc:spChg>
        <pc:spChg chg="mod ord">
          <ac:chgData name="Florian Faller" userId="4e496f4204a626e3" providerId="LiveId" clId="{9A21812C-E53D-4018-A66F-CEBBCC2D158E}" dt="2025-04-24T07:14:49.918" v="12772"/>
          <ac:spMkLst>
            <pc:docMk/>
            <pc:sldMk cId="3327734167" sldId="316"/>
            <ac:spMk id="6" creationId="{71090614-324A-62ED-B6DF-CCA6E921CE5F}"/>
          </ac:spMkLst>
        </pc:spChg>
        <pc:spChg chg="mod ord">
          <ac:chgData name="Florian Faller" userId="4e496f4204a626e3" providerId="LiveId" clId="{9A21812C-E53D-4018-A66F-CEBBCC2D158E}" dt="2025-04-24T07:14:49.921" v="12774"/>
          <ac:spMkLst>
            <pc:docMk/>
            <pc:sldMk cId="3327734167" sldId="316"/>
            <ac:spMk id="7" creationId="{C1E324DC-D1B1-7767-B047-EF8C2531D9A8}"/>
          </ac:spMkLst>
        </pc:spChg>
        <pc:spChg chg="mod ord">
          <ac:chgData name="Florian Faller" userId="4e496f4204a626e3" providerId="LiveId" clId="{9A21812C-E53D-4018-A66F-CEBBCC2D158E}" dt="2025-04-24T07:14:49.921" v="12776"/>
          <ac:spMkLst>
            <pc:docMk/>
            <pc:sldMk cId="3327734167" sldId="316"/>
            <ac:spMk id="8" creationId="{CCE889CB-BB4E-F9DF-54CB-6E2CD755E401}"/>
          </ac:spMkLst>
        </pc:spChg>
        <pc:spChg chg="add mod">
          <ac:chgData name="Florian Faller" userId="4e496f4204a626e3" providerId="LiveId" clId="{9A21812C-E53D-4018-A66F-CEBBCC2D158E}" dt="2025-04-24T06:38:20.600" v="12174" actId="164"/>
          <ac:spMkLst>
            <pc:docMk/>
            <pc:sldMk cId="3327734167" sldId="316"/>
            <ac:spMk id="9" creationId="{DE54432F-3D66-7901-0665-2E6A80500D88}"/>
          </ac:spMkLst>
        </pc:spChg>
        <pc:spChg chg="del">
          <ac:chgData name="Florian Faller" userId="4e496f4204a626e3" providerId="LiveId" clId="{9A21812C-E53D-4018-A66F-CEBBCC2D158E}" dt="2025-04-23T18:24:32.119" v="6768" actId="478"/>
          <ac:spMkLst>
            <pc:docMk/>
            <pc:sldMk cId="3327734167" sldId="316"/>
            <ac:spMk id="10" creationId="{1AB89824-B3A4-99C2-A017-E9B99A0E2DE2}"/>
          </ac:spMkLst>
        </pc:spChg>
        <pc:spChg chg="add mod">
          <ac:chgData name="Florian Faller" userId="4e496f4204a626e3" providerId="LiveId" clId="{9A21812C-E53D-4018-A66F-CEBBCC2D158E}" dt="2025-04-24T06:38:28.417" v="12178" actId="164"/>
          <ac:spMkLst>
            <pc:docMk/>
            <pc:sldMk cId="3327734167" sldId="316"/>
            <ac:spMk id="11" creationId="{A02A440B-FF41-9606-95EF-3BA4B4B28594}"/>
          </ac:spMkLst>
        </pc:spChg>
        <pc:spChg chg="add mod">
          <ac:chgData name="Florian Faller" userId="4e496f4204a626e3" providerId="LiveId" clId="{9A21812C-E53D-4018-A66F-CEBBCC2D158E}" dt="2025-04-24T06:38:28.417" v="12178" actId="164"/>
          <ac:spMkLst>
            <pc:docMk/>
            <pc:sldMk cId="3327734167" sldId="316"/>
            <ac:spMk id="13" creationId="{7EB04B78-5773-6BE0-0731-633EE6560983}"/>
          </ac:spMkLst>
        </pc:spChg>
        <pc:spChg chg="add mod">
          <ac:chgData name="Florian Faller" userId="4e496f4204a626e3" providerId="LiveId" clId="{9A21812C-E53D-4018-A66F-CEBBCC2D158E}" dt="2025-04-23T18:28:24.225" v="6885" actId="571"/>
          <ac:spMkLst>
            <pc:docMk/>
            <pc:sldMk cId="3327734167" sldId="316"/>
            <ac:spMk id="26" creationId="{6529D697-2F14-3E05-E071-EF8BC6DCFAC9}"/>
          </ac:spMkLst>
        </pc:spChg>
        <pc:spChg chg="add mod">
          <ac:chgData name="Florian Faller" userId="4e496f4204a626e3" providerId="LiveId" clId="{9A21812C-E53D-4018-A66F-CEBBCC2D158E}" dt="2025-04-24T06:38:11.399" v="12171" actId="164"/>
          <ac:spMkLst>
            <pc:docMk/>
            <pc:sldMk cId="3327734167" sldId="316"/>
            <ac:spMk id="28" creationId="{A00A507B-B557-97BC-A5CC-94962DCC0306}"/>
          </ac:spMkLst>
        </pc:spChg>
        <pc:spChg chg="add mod">
          <ac:chgData name="Florian Faller" userId="4e496f4204a626e3" providerId="LiveId" clId="{9A21812C-E53D-4018-A66F-CEBBCC2D158E}" dt="2025-04-24T06:38:11.399" v="12171" actId="164"/>
          <ac:spMkLst>
            <pc:docMk/>
            <pc:sldMk cId="3327734167" sldId="316"/>
            <ac:spMk id="29" creationId="{802BA698-EB01-2293-D87B-1AA11BD5067F}"/>
          </ac:spMkLst>
        </pc:spChg>
        <pc:spChg chg="add mod">
          <ac:chgData name="Florian Faller" userId="4e496f4204a626e3" providerId="LiveId" clId="{9A21812C-E53D-4018-A66F-CEBBCC2D158E}" dt="2025-04-24T06:38:20.600" v="12174" actId="164"/>
          <ac:spMkLst>
            <pc:docMk/>
            <pc:sldMk cId="3327734167" sldId="316"/>
            <ac:spMk id="30" creationId="{B89D066E-2675-4837-EE93-123C08F67A4A}"/>
          </ac:spMkLst>
        </pc:spChg>
        <pc:spChg chg="add mod">
          <ac:chgData name="Florian Faller" userId="4e496f4204a626e3" providerId="LiveId" clId="{9A21812C-E53D-4018-A66F-CEBBCC2D158E}" dt="2025-04-24T06:38:20.600" v="12174" actId="164"/>
          <ac:spMkLst>
            <pc:docMk/>
            <pc:sldMk cId="3327734167" sldId="316"/>
            <ac:spMk id="31" creationId="{564F4361-C414-6A6D-E53D-AE0147B98859}"/>
          </ac:spMkLst>
        </pc:spChg>
        <pc:spChg chg="add mod">
          <ac:chgData name="Florian Faller" userId="4e496f4204a626e3" providerId="LiveId" clId="{9A21812C-E53D-4018-A66F-CEBBCC2D158E}" dt="2025-04-24T06:38:28.417" v="12178" actId="164"/>
          <ac:spMkLst>
            <pc:docMk/>
            <pc:sldMk cId="3327734167" sldId="316"/>
            <ac:spMk id="32" creationId="{A426A542-1279-7A88-F4C4-2F2B53F69F69}"/>
          </ac:spMkLst>
        </pc:spChg>
        <pc:spChg chg="add del mod">
          <ac:chgData name="Florian Faller" userId="4e496f4204a626e3" providerId="LiveId" clId="{9A21812C-E53D-4018-A66F-CEBBCC2D158E}" dt="2025-04-23T18:35:05.450" v="7296" actId="478"/>
          <ac:spMkLst>
            <pc:docMk/>
            <pc:sldMk cId="3327734167" sldId="316"/>
            <ac:spMk id="33" creationId="{619945FF-259D-6743-68C2-382507D7AAE6}"/>
          </ac:spMkLst>
        </pc:spChg>
        <pc:spChg chg="add del mod">
          <ac:chgData name="Florian Faller" userId="4e496f4204a626e3" providerId="LiveId" clId="{9A21812C-E53D-4018-A66F-CEBBCC2D158E}" dt="2025-04-23T18:36:11.169" v="7365" actId="478"/>
          <ac:spMkLst>
            <pc:docMk/>
            <pc:sldMk cId="3327734167" sldId="316"/>
            <ac:spMk id="34" creationId="{BC198CA8-99A8-C254-FC25-AF08CEF7EEAF}"/>
          </ac:spMkLst>
        </pc:spChg>
        <pc:spChg chg="add mod">
          <ac:chgData name="Florian Faller" userId="4e496f4204a626e3" providerId="LiveId" clId="{9A21812C-E53D-4018-A66F-CEBBCC2D158E}" dt="2025-04-24T06:38:28.417" v="12178" actId="164"/>
          <ac:spMkLst>
            <pc:docMk/>
            <pc:sldMk cId="3327734167" sldId="316"/>
            <ac:spMk id="35" creationId="{1EEFE168-DFA3-8220-43B7-20614EF08F28}"/>
          </ac:spMkLst>
        </pc:spChg>
        <pc:spChg chg="add mod">
          <ac:chgData name="Florian Faller" userId="4e496f4204a626e3" providerId="LiveId" clId="{9A21812C-E53D-4018-A66F-CEBBCC2D158E}" dt="2025-04-24T06:38:28.417" v="12178" actId="164"/>
          <ac:spMkLst>
            <pc:docMk/>
            <pc:sldMk cId="3327734167" sldId="316"/>
            <ac:spMk id="36" creationId="{168E3D21-F26B-623A-6F6E-DDCCFB521288}"/>
          </ac:spMkLst>
        </pc:spChg>
        <pc:spChg chg="add mod ord">
          <ac:chgData name="Florian Faller" userId="4e496f4204a626e3" providerId="LiveId" clId="{9A21812C-E53D-4018-A66F-CEBBCC2D158E}" dt="2025-04-24T07:28:56.987" v="13141" actId="164"/>
          <ac:spMkLst>
            <pc:docMk/>
            <pc:sldMk cId="3327734167" sldId="316"/>
            <ac:spMk id="40" creationId="{1E4ECA94-5393-AE8B-1758-11423E7D6BCD}"/>
          </ac:spMkLst>
        </pc:spChg>
        <pc:spChg chg="add mod ord">
          <ac:chgData name="Florian Faller" userId="4e496f4204a626e3" providerId="LiveId" clId="{9A21812C-E53D-4018-A66F-CEBBCC2D158E}" dt="2025-04-24T07:26:41.227" v="13119" actId="164"/>
          <ac:spMkLst>
            <pc:docMk/>
            <pc:sldMk cId="3327734167" sldId="316"/>
            <ac:spMk id="41" creationId="{78686A29-2DB8-0E85-FEAD-0C0B4CBB1052}"/>
          </ac:spMkLst>
        </pc:spChg>
        <pc:spChg chg="add mod ord">
          <ac:chgData name="Florian Faller" userId="4e496f4204a626e3" providerId="LiveId" clId="{9A21812C-E53D-4018-A66F-CEBBCC2D158E}" dt="2025-04-24T07:26:39.201" v="13118" actId="164"/>
          <ac:spMkLst>
            <pc:docMk/>
            <pc:sldMk cId="3327734167" sldId="316"/>
            <ac:spMk id="42" creationId="{03B7B034-4DE1-F0B0-F4C1-DF1E6962D67F}"/>
          </ac:spMkLst>
        </pc:spChg>
        <pc:spChg chg="add mod ord">
          <ac:chgData name="Florian Faller" userId="4e496f4204a626e3" providerId="LiveId" clId="{9A21812C-E53D-4018-A66F-CEBBCC2D158E}" dt="2025-04-24T07:26:43.640" v="13120" actId="164"/>
          <ac:spMkLst>
            <pc:docMk/>
            <pc:sldMk cId="3327734167" sldId="316"/>
            <ac:spMk id="43" creationId="{3B8B3DD4-C403-BC79-6AE4-0F412B7B314D}"/>
          </ac:spMkLst>
        </pc:spChg>
        <pc:spChg chg="add mod ord">
          <ac:chgData name="Florian Faller" userId="4e496f4204a626e3" providerId="LiveId" clId="{9A21812C-E53D-4018-A66F-CEBBCC2D158E}" dt="2025-04-24T07:28:56.987" v="13141" actId="164"/>
          <ac:spMkLst>
            <pc:docMk/>
            <pc:sldMk cId="3327734167" sldId="316"/>
            <ac:spMk id="44" creationId="{09F51162-7D9C-7B43-EAF1-4E414296057D}"/>
          </ac:spMkLst>
        </pc:spChg>
        <pc:spChg chg="add mod ord">
          <ac:chgData name="Florian Faller" userId="4e496f4204a626e3" providerId="LiveId" clId="{9A21812C-E53D-4018-A66F-CEBBCC2D158E}" dt="2025-04-24T07:26:46.258" v="13121" actId="164"/>
          <ac:spMkLst>
            <pc:docMk/>
            <pc:sldMk cId="3327734167" sldId="316"/>
            <ac:spMk id="45" creationId="{082B2A5E-1C18-211E-D82C-8F1B0B24FFAC}"/>
          </ac:spMkLst>
        </pc:spChg>
        <pc:spChg chg="add mod ord">
          <ac:chgData name="Florian Faller" userId="4e496f4204a626e3" providerId="LiveId" clId="{9A21812C-E53D-4018-A66F-CEBBCC2D158E}" dt="2025-04-24T07:26:48.304" v="13122" actId="164"/>
          <ac:spMkLst>
            <pc:docMk/>
            <pc:sldMk cId="3327734167" sldId="316"/>
            <ac:spMk id="46" creationId="{D194DB84-FA49-1CE1-F5C0-1BD8596A7F5B}"/>
          </ac:spMkLst>
        </pc:spChg>
        <pc:spChg chg="add mod ord">
          <ac:chgData name="Florian Faller" userId="4e496f4204a626e3" providerId="LiveId" clId="{9A21812C-E53D-4018-A66F-CEBBCC2D158E}" dt="2025-04-24T07:26:57.464" v="13127" actId="164"/>
          <ac:spMkLst>
            <pc:docMk/>
            <pc:sldMk cId="3327734167" sldId="316"/>
            <ac:spMk id="47" creationId="{3F3DFB2F-CF7E-33B7-33BC-8D53A24CC9AB}"/>
          </ac:spMkLst>
        </pc:spChg>
        <pc:spChg chg="add mod ord">
          <ac:chgData name="Florian Faller" userId="4e496f4204a626e3" providerId="LiveId" clId="{9A21812C-E53D-4018-A66F-CEBBCC2D158E}" dt="2025-04-24T07:28:56.987" v="13141" actId="164"/>
          <ac:spMkLst>
            <pc:docMk/>
            <pc:sldMk cId="3327734167" sldId="316"/>
            <ac:spMk id="48" creationId="{15702B4E-9CC4-FE4F-E23C-A486E916F7E3}"/>
          </ac:spMkLst>
        </pc:spChg>
        <pc:spChg chg="add mod ord">
          <ac:chgData name="Florian Faller" userId="4e496f4204a626e3" providerId="LiveId" clId="{9A21812C-E53D-4018-A66F-CEBBCC2D158E}" dt="2025-04-24T07:27:50.653" v="13135" actId="164"/>
          <ac:spMkLst>
            <pc:docMk/>
            <pc:sldMk cId="3327734167" sldId="316"/>
            <ac:spMk id="49" creationId="{93AD4A45-A19C-5CDC-609B-2110F9F9AAC7}"/>
          </ac:spMkLst>
        </pc:spChg>
        <pc:spChg chg="add mod ord">
          <ac:chgData name="Florian Faller" userId="4e496f4204a626e3" providerId="LiveId" clId="{9A21812C-E53D-4018-A66F-CEBBCC2D158E}" dt="2025-04-24T07:27:52.305" v="13136" actId="164"/>
          <ac:spMkLst>
            <pc:docMk/>
            <pc:sldMk cId="3327734167" sldId="316"/>
            <ac:spMk id="50" creationId="{5C9290A9-23AE-2A59-CC5A-CEF6B55B0CDE}"/>
          </ac:spMkLst>
        </pc:spChg>
        <pc:spChg chg="add mod ord">
          <ac:chgData name="Florian Faller" userId="4e496f4204a626e3" providerId="LiveId" clId="{9A21812C-E53D-4018-A66F-CEBBCC2D158E}" dt="2025-04-24T07:27:57.227" v="13137" actId="164"/>
          <ac:spMkLst>
            <pc:docMk/>
            <pc:sldMk cId="3327734167" sldId="316"/>
            <ac:spMk id="51" creationId="{AE691939-06A6-5130-C609-820224747EFB}"/>
          </ac:spMkLst>
        </pc:spChg>
        <pc:spChg chg="add del mod ord">
          <ac:chgData name="Florian Faller" userId="4e496f4204a626e3" providerId="LiveId" clId="{9A21812C-E53D-4018-A66F-CEBBCC2D158E}" dt="2025-04-24T07:14:53.183" v="12811" actId="478"/>
          <ac:spMkLst>
            <pc:docMk/>
            <pc:sldMk cId="3327734167" sldId="316"/>
            <ac:spMk id="55" creationId="{39F901EF-0655-7FE8-1366-18F8EEA81581}"/>
          </ac:spMkLst>
        </pc:spChg>
        <pc:spChg chg="add del mod ord">
          <ac:chgData name="Florian Faller" userId="4e496f4204a626e3" providerId="LiveId" clId="{9A21812C-E53D-4018-A66F-CEBBCC2D158E}" dt="2025-04-24T07:14:53.183" v="12811" actId="478"/>
          <ac:spMkLst>
            <pc:docMk/>
            <pc:sldMk cId="3327734167" sldId="316"/>
            <ac:spMk id="56" creationId="{B05828B1-3DD4-1822-D46D-FEE6454FBE3A}"/>
          </ac:spMkLst>
        </pc:spChg>
        <pc:spChg chg="add del mod ord">
          <ac:chgData name="Florian Faller" userId="4e496f4204a626e3" providerId="LiveId" clId="{9A21812C-E53D-4018-A66F-CEBBCC2D158E}" dt="2025-04-24T07:14:53.183" v="12811" actId="478"/>
          <ac:spMkLst>
            <pc:docMk/>
            <pc:sldMk cId="3327734167" sldId="316"/>
            <ac:spMk id="57" creationId="{FC2A5394-24FB-9951-B93F-CC3CE26F84AA}"/>
          </ac:spMkLst>
        </pc:spChg>
        <pc:spChg chg="add mod">
          <ac:chgData name="Florian Faller" userId="4e496f4204a626e3" providerId="LiveId" clId="{9A21812C-E53D-4018-A66F-CEBBCC2D158E}" dt="2025-04-24T07:27:34.225" v="13128" actId="164"/>
          <ac:spMkLst>
            <pc:docMk/>
            <pc:sldMk cId="3327734167" sldId="316"/>
            <ac:spMk id="58" creationId="{BA3DA393-F793-2B03-95FC-F6F385E2C036}"/>
          </ac:spMkLst>
        </pc:spChg>
        <pc:grpChg chg="add mod">
          <ac:chgData name="Florian Faller" userId="4e496f4204a626e3" providerId="LiveId" clId="{9A21812C-E53D-4018-A66F-CEBBCC2D158E}" dt="2025-04-24T06:38:20.600" v="12174" actId="164"/>
          <ac:grpSpMkLst>
            <pc:docMk/>
            <pc:sldMk cId="3327734167" sldId="316"/>
            <ac:grpSpMk id="27" creationId="{D158F3DE-F9E3-79B5-3767-0B544489D979}"/>
          </ac:grpSpMkLst>
        </pc:grpChg>
        <pc:grpChg chg="add del mod">
          <ac:chgData name="Florian Faller" userId="4e496f4204a626e3" providerId="LiveId" clId="{9A21812C-E53D-4018-A66F-CEBBCC2D158E}" dt="2025-04-24T07:09:56.436" v="12487" actId="478"/>
          <ac:grpSpMkLst>
            <pc:docMk/>
            <pc:sldMk cId="3327734167" sldId="316"/>
            <ac:grpSpMk id="37" creationId="{72FA5043-0F5E-28B7-F7B1-09448FB39BE2}"/>
          </ac:grpSpMkLst>
        </pc:grpChg>
        <pc:grpChg chg="add del mod">
          <ac:chgData name="Florian Faller" userId="4e496f4204a626e3" providerId="LiveId" clId="{9A21812C-E53D-4018-A66F-CEBBCC2D158E}" dt="2025-04-24T07:09:56.436" v="12487" actId="478"/>
          <ac:grpSpMkLst>
            <pc:docMk/>
            <pc:sldMk cId="3327734167" sldId="316"/>
            <ac:grpSpMk id="38" creationId="{69916745-4DDD-5E90-FF42-363D0999BEE3}"/>
          </ac:grpSpMkLst>
        </pc:grpChg>
        <pc:grpChg chg="add del mod">
          <ac:chgData name="Florian Faller" userId="4e496f4204a626e3" providerId="LiveId" clId="{9A21812C-E53D-4018-A66F-CEBBCC2D158E}" dt="2025-04-24T07:09:56.436" v="12487" actId="478"/>
          <ac:grpSpMkLst>
            <pc:docMk/>
            <pc:sldMk cId="3327734167" sldId="316"/>
            <ac:grpSpMk id="39" creationId="{0487B0C0-37AD-EC13-9734-399D0D37161B}"/>
          </ac:grpSpMkLst>
        </pc:grpChg>
        <pc:grpChg chg="add mod">
          <ac:chgData name="Florian Faller" userId="4e496f4204a626e3" providerId="LiveId" clId="{9A21812C-E53D-4018-A66F-CEBBCC2D158E}" dt="2025-04-24T07:26:39.201" v="13118" actId="164"/>
          <ac:grpSpMkLst>
            <pc:docMk/>
            <pc:sldMk cId="3327734167" sldId="316"/>
            <ac:grpSpMk id="78" creationId="{63F3EB2F-7F5D-605F-EF38-AF1C817A448D}"/>
          </ac:grpSpMkLst>
        </pc:grpChg>
        <pc:grpChg chg="add mod">
          <ac:chgData name="Florian Faller" userId="4e496f4204a626e3" providerId="LiveId" clId="{9A21812C-E53D-4018-A66F-CEBBCC2D158E}" dt="2025-04-24T07:28:56.987" v="13141" actId="164"/>
          <ac:grpSpMkLst>
            <pc:docMk/>
            <pc:sldMk cId="3327734167" sldId="316"/>
            <ac:grpSpMk id="79" creationId="{F8154935-9FCC-A13B-B780-CEFBB909FEE4}"/>
          </ac:grpSpMkLst>
        </pc:grpChg>
        <pc:grpChg chg="add mod">
          <ac:chgData name="Florian Faller" userId="4e496f4204a626e3" providerId="LiveId" clId="{9A21812C-E53D-4018-A66F-CEBBCC2D158E}" dt="2025-04-24T07:28:56.987" v="13141" actId="164"/>
          <ac:grpSpMkLst>
            <pc:docMk/>
            <pc:sldMk cId="3327734167" sldId="316"/>
            <ac:grpSpMk id="80" creationId="{E7722BB7-B1D4-86D8-0135-55F5DA4E2287}"/>
          </ac:grpSpMkLst>
        </pc:grpChg>
        <pc:grpChg chg="add mod">
          <ac:chgData name="Florian Faller" userId="4e496f4204a626e3" providerId="LiveId" clId="{9A21812C-E53D-4018-A66F-CEBBCC2D158E}" dt="2025-04-24T07:26:46.258" v="13121" actId="164"/>
          <ac:grpSpMkLst>
            <pc:docMk/>
            <pc:sldMk cId="3327734167" sldId="316"/>
            <ac:grpSpMk id="81" creationId="{F8909F68-FFEF-1BD1-8718-A0ADF09709A4}"/>
          </ac:grpSpMkLst>
        </pc:grpChg>
        <pc:grpChg chg="add mod">
          <ac:chgData name="Florian Faller" userId="4e496f4204a626e3" providerId="LiveId" clId="{9A21812C-E53D-4018-A66F-CEBBCC2D158E}" dt="2025-04-24T07:28:56.987" v="13141" actId="164"/>
          <ac:grpSpMkLst>
            <pc:docMk/>
            <pc:sldMk cId="3327734167" sldId="316"/>
            <ac:grpSpMk id="82" creationId="{AC167BF0-9787-7796-78A7-B24986D1427F}"/>
          </ac:grpSpMkLst>
        </pc:grpChg>
        <pc:grpChg chg="add mod">
          <ac:chgData name="Florian Faller" userId="4e496f4204a626e3" providerId="LiveId" clId="{9A21812C-E53D-4018-A66F-CEBBCC2D158E}" dt="2025-04-24T07:26:54.837" v="13125" actId="164"/>
          <ac:grpSpMkLst>
            <pc:docMk/>
            <pc:sldMk cId="3327734167" sldId="316"/>
            <ac:grpSpMk id="83" creationId="{B4641C62-1ECF-27CF-7278-286AE9292F60}"/>
          </ac:grpSpMkLst>
        </pc:grpChg>
        <pc:grpChg chg="add mod">
          <ac:chgData name="Florian Faller" userId="4e496f4204a626e3" providerId="LiveId" clId="{9A21812C-E53D-4018-A66F-CEBBCC2D158E}" dt="2025-04-24T07:27:40.456" v="13130" actId="465"/>
          <ac:grpSpMkLst>
            <pc:docMk/>
            <pc:sldMk cId="3327734167" sldId="316"/>
            <ac:grpSpMk id="84" creationId="{44E3CA56-0169-C819-3478-A29CF40E937C}"/>
          </ac:grpSpMkLst>
        </pc:grpChg>
        <pc:grpChg chg="add mod">
          <ac:chgData name="Florian Faller" userId="4e496f4204a626e3" providerId="LiveId" clId="{9A21812C-E53D-4018-A66F-CEBBCC2D158E}" dt="2025-04-24T07:28:56.987" v="13141" actId="164"/>
          <ac:grpSpMkLst>
            <pc:docMk/>
            <pc:sldMk cId="3327734167" sldId="316"/>
            <ac:grpSpMk id="85" creationId="{68B2F6C3-6108-592F-B409-B5BB93B114F2}"/>
          </ac:grpSpMkLst>
        </pc:grpChg>
        <pc:grpChg chg="add mod">
          <ac:chgData name="Florian Faller" userId="4e496f4204a626e3" providerId="LiveId" clId="{9A21812C-E53D-4018-A66F-CEBBCC2D158E}" dt="2025-04-24T07:28:56.987" v="13141" actId="164"/>
          <ac:grpSpMkLst>
            <pc:docMk/>
            <pc:sldMk cId="3327734167" sldId="316"/>
            <ac:grpSpMk id="86" creationId="{6BCB00D9-366D-072C-E2A3-E3B139FC9B74}"/>
          </ac:grpSpMkLst>
        </pc:grpChg>
        <pc:grpChg chg="add mod">
          <ac:chgData name="Florian Faller" userId="4e496f4204a626e3" providerId="LiveId" clId="{9A21812C-E53D-4018-A66F-CEBBCC2D158E}" dt="2025-04-24T07:28:56.987" v="13141" actId="164"/>
          <ac:grpSpMkLst>
            <pc:docMk/>
            <pc:sldMk cId="3327734167" sldId="316"/>
            <ac:grpSpMk id="87" creationId="{D1159F21-E264-5464-0C23-6040EEF8109E}"/>
          </ac:grpSpMkLst>
        </pc:grpChg>
        <pc:grpChg chg="add mod">
          <ac:chgData name="Florian Faller" userId="4e496f4204a626e3" providerId="LiveId" clId="{9A21812C-E53D-4018-A66F-CEBBCC2D158E}" dt="2025-04-24T07:28:56.987" v="13141" actId="164"/>
          <ac:grpSpMkLst>
            <pc:docMk/>
            <pc:sldMk cId="3327734167" sldId="316"/>
            <ac:grpSpMk id="88" creationId="{9587532E-BA7A-5AF9-0016-7503B10022CD}"/>
          </ac:grpSpMkLst>
        </pc:grpChg>
        <pc:grpChg chg="mod">
          <ac:chgData name="Florian Faller" userId="4e496f4204a626e3" providerId="LiveId" clId="{9A21812C-E53D-4018-A66F-CEBBCC2D158E}" dt="2025-04-24T09:34:35.769" v="16365" actId="164"/>
          <ac:grpSpMkLst>
            <pc:docMk/>
            <pc:sldMk cId="3327734167" sldId="316"/>
            <ac:grpSpMk id="89" creationId="{46A41605-0622-C1B9-5601-E84B6D66CC69}"/>
          </ac:grpSpMkLst>
        </pc:grpChg>
        <pc:grpChg chg="add mod">
          <ac:chgData name="Florian Faller" userId="4e496f4204a626e3" providerId="LiveId" clId="{9A21812C-E53D-4018-A66F-CEBBCC2D158E}" dt="2025-04-24T09:34:35.769" v="16365" actId="164"/>
          <ac:grpSpMkLst>
            <pc:docMk/>
            <pc:sldMk cId="3327734167" sldId="316"/>
            <ac:grpSpMk id="94" creationId="{1EFE4A26-6F8D-1A54-C1AD-F304830513D0}"/>
          </ac:grpSpMkLst>
        </pc:grpChg>
        <pc:graphicFrameChg chg="del">
          <ac:chgData name="Florian Faller" userId="4e496f4204a626e3" providerId="LiveId" clId="{9A21812C-E53D-4018-A66F-CEBBCC2D158E}" dt="2025-04-23T18:24:32.119" v="6768" actId="478"/>
          <ac:graphicFrameMkLst>
            <pc:docMk/>
            <pc:sldMk cId="3327734167" sldId="316"/>
            <ac:graphicFrameMk id="12" creationId="{CCE3953D-1D95-455D-8BFE-B02EA7977105}"/>
          </ac:graphicFrameMkLst>
        </pc:graphicFrameChg>
        <pc:graphicFrameChg chg="add mod ord modVis">
          <ac:chgData name="Florian Faller" userId="4e496f4204a626e3" providerId="LiveId" clId="{9A21812C-E53D-4018-A66F-CEBBCC2D158E}" dt="2025-04-24T07:14:49.968" v="12810"/>
          <ac:graphicFrameMkLst>
            <pc:docMk/>
            <pc:sldMk cId="3327734167" sldId="316"/>
            <ac:graphicFrameMk id="54" creationId="{FFE6BD42-3AC5-A1A2-5158-C698CE5D305F}"/>
          </ac:graphicFrameMkLst>
        </pc:graphicFrameChg>
        <pc:picChg chg="add mod ord modCrop">
          <ac:chgData name="Florian Faller" userId="4e496f4204a626e3" providerId="LiveId" clId="{9A21812C-E53D-4018-A66F-CEBBCC2D158E}" dt="2025-04-24T07:15:33.029" v="12840" actId="208"/>
          <ac:picMkLst>
            <pc:docMk/>
            <pc:sldMk cId="3327734167" sldId="316"/>
            <ac:picMk id="53" creationId="{7214BAF6-1AE8-47B1-BB4F-812C63D34A54}"/>
          </ac:picMkLst>
        </pc:picChg>
        <pc:picChg chg="add mod">
          <ac:chgData name="Florian Faller" userId="4e496f4204a626e3" providerId="LiveId" clId="{9A21812C-E53D-4018-A66F-CEBBCC2D158E}" dt="2025-04-24T07:27:57.227" v="13137" actId="164"/>
          <ac:picMkLst>
            <pc:docMk/>
            <pc:sldMk cId="3327734167" sldId="316"/>
            <ac:picMk id="60" creationId="{485C4339-AC20-579D-FA90-6F6DDB42CE3E}"/>
          </ac:picMkLst>
        </pc:picChg>
        <pc:picChg chg="add mod">
          <ac:chgData name="Florian Faller" userId="4e496f4204a626e3" providerId="LiveId" clId="{9A21812C-E53D-4018-A66F-CEBBCC2D158E}" dt="2025-04-24T07:26:43.640" v="13120" actId="164"/>
          <ac:picMkLst>
            <pc:docMk/>
            <pc:sldMk cId="3327734167" sldId="316"/>
            <ac:picMk id="62" creationId="{F67E6CFD-4C2F-F174-E228-63B82E986C59}"/>
          </ac:picMkLst>
        </pc:picChg>
        <pc:picChg chg="add mod">
          <ac:chgData name="Florian Faller" userId="4e496f4204a626e3" providerId="LiveId" clId="{9A21812C-E53D-4018-A66F-CEBBCC2D158E}" dt="2025-04-24T07:26:39.201" v="13118" actId="164"/>
          <ac:picMkLst>
            <pc:docMk/>
            <pc:sldMk cId="3327734167" sldId="316"/>
            <ac:picMk id="64" creationId="{544EAD6D-8A7E-E32F-D61D-63706399501D}"/>
          </ac:picMkLst>
        </pc:picChg>
        <pc:picChg chg="add mod">
          <ac:chgData name="Florian Faller" userId="4e496f4204a626e3" providerId="LiveId" clId="{9A21812C-E53D-4018-A66F-CEBBCC2D158E}" dt="2025-04-24T07:27:50.653" v="13135" actId="164"/>
          <ac:picMkLst>
            <pc:docMk/>
            <pc:sldMk cId="3327734167" sldId="316"/>
            <ac:picMk id="66" creationId="{4E9B2978-A130-5253-3445-0C96EE468AB3}"/>
          </ac:picMkLst>
        </pc:picChg>
        <pc:picChg chg="add mod">
          <ac:chgData name="Florian Faller" userId="4e496f4204a626e3" providerId="LiveId" clId="{9A21812C-E53D-4018-A66F-CEBBCC2D158E}" dt="2025-04-24T07:27:52.305" v="13136" actId="164"/>
          <ac:picMkLst>
            <pc:docMk/>
            <pc:sldMk cId="3327734167" sldId="316"/>
            <ac:picMk id="68" creationId="{34E2E53C-69F9-6F73-AE2D-290D6913F551}"/>
          </ac:picMkLst>
        </pc:picChg>
        <pc:picChg chg="add mod">
          <ac:chgData name="Florian Faller" userId="4e496f4204a626e3" providerId="LiveId" clId="{9A21812C-E53D-4018-A66F-CEBBCC2D158E}" dt="2025-04-24T07:26:41.227" v="13119" actId="164"/>
          <ac:picMkLst>
            <pc:docMk/>
            <pc:sldMk cId="3327734167" sldId="316"/>
            <ac:picMk id="70" creationId="{0EA2BA64-A72B-861F-E3F9-F5ECF86F2214}"/>
          </ac:picMkLst>
        </pc:picChg>
        <pc:picChg chg="add mod">
          <ac:chgData name="Florian Faller" userId="4e496f4204a626e3" providerId="LiveId" clId="{9A21812C-E53D-4018-A66F-CEBBCC2D158E}" dt="2025-04-24T07:26:46.258" v="13121" actId="164"/>
          <ac:picMkLst>
            <pc:docMk/>
            <pc:sldMk cId="3327734167" sldId="316"/>
            <ac:picMk id="72" creationId="{7AC97E01-816D-B63C-92A5-A8DDB596D27C}"/>
          </ac:picMkLst>
        </pc:picChg>
        <pc:picChg chg="add del mod">
          <ac:chgData name="Florian Faller" userId="4e496f4204a626e3" providerId="LiveId" clId="{9A21812C-E53D-4018-A66F-CEBBCC2D158E}" dt="2025-04-24T07:24:38.376" v="13088" actId="478"/>
          <ac:picMkLst>
            <pc:docMk/>
            <pc:sldMk cId="3327734167" sldId="316"/>
            <ac:picMk id="74" creationId="{CA0496F8-E553-74E9-8DFB-D8034FBA3613}"/>
          </ac:picMkLst>
        </pc:picChg>
        <pc:picChg chg="add mod">
          <ac:chgData name="Florian Faller" userId="4e496f4204a626e3" providerId="LiveId" clId="{9A21812C-E53D-4018-A66F-CEBBCC2D158E}" dt="2025-04-24T07:26:48.304" v="13122" actId="164"/>
          <ac:picMkLst>
            <pc:docMk/>
            <pc:sldMk cId="3327734167" sldId="316"/>
            <ac:picMk id="75" creationId="{F412920D-71CD-58DE-30C1-59DF3A8F71FE}"/>
          </ac:picMkLst>
        </pc:picChg>
        <pc:picChg chg="add mod">
          <ac:chgData name="Florian Faller" userId="4e496f4204a626e3" providerId="LiveId" clId="{9A21812C-E53D-4018-A66F-CEBBCC2D158E}" dt="2025-04-24T07:26:57.464" v="13127" actId="164"/>
          <ac:picMkLst>
            <pc:docMk/>
            <pc:sldMk cId="3327734167" sldId="316"/>
            <ac:picMk id="76" creationId="{BC24D8B7-ECF2-255A-0D42-3C1B56EDDF23}"/>
          </ac:picMkLst>
        </pc:picChg>
        <pc:picChg chg="add mod">
          <ac:chgData name="Florian Faller" userId="4e496f4204a626e3" providerId="LiveId" clId="{9A21812C-E53D-4018-A66F-CEBBCC2D158E}" dt="2025-04-24T07:27:34.225" v="13128" actId="164"/>
          <ac:picMkLst>
            <pc:docMk/>
            <pc:sldMk cId="3327734167" sldId="316"/>
            <ac:picMk id="77" creationId="{6CB721B1-7B65-A9B3-CFA2-91DB75258F74}"/>
          </ac:picMkLst>
        </pc:picChg>
        <pc:cxnChg chg="add mod">
          <ac:chgData name="Florian Faller" userId="4e496f4204a626e3" providerId="LiveId" clId="{9A21812C-E53D-4018-A66F-CEBBCC2D158E}" dt="2025-04-23T18:28:28.816" v="6887" actId="164"/>
          <ac:cxnSpMkLst>
            <pc:docMk/>
            <pc:sldMk cId="3327734167" sldId="316"/>
            <ac:cxnSpMk id="15" creationId="{36D977F3-FD8E-8341-0EA0-01A1CF61C500}"/>
          </ac:cxnSpMkLst>
        </pc:cxnChg>
        <pc:cxnChg chg="add mod">
          <ac:chgData name="Florian Faller" userId="4e496f4204a626e3" providerId="LiveId" clId="{9A21812C-E53D-4018-A66F-CEBBCC2D158E}" dt="2025-04-23T18:28:28.816" v="6887" actId="164"/>
          <ac:cxnSpMkLst>
            <pc:docMk/>
            <pc:sldMk cId="3327734167" sldId="316"/>
            <ac:cxnSpMk id="16" creationId="{66C19B01-BF25-0E74-64A9-513462E701D4}"/>
          </ac:cxnSpMkLst>
        </pc:cxnChg>
        <pc:cxnChg chg="add mod">
          <ac:chgData name="Florian Faller" userId="4e496f4204a626e3" providerId="LiveId" clId="{9A21812C-E53D-4018-A66F-CEBBCC2D158E}" dt="2025-04-23T18:28:28.816" v="6887" actId="164"/>
          <ac:cxnSpMkLst>
            <pc:docMk/>
            <pc:sldMk cId="3327734167" sldId="316"/>
            <ac:cxnSpMk id="17" creationId="{44073746-9C4F-2E70-6D6A-CF3BF9825EF2}"/>
          </ac:cxnSpMkLst>
        </pc:cxnChg>
        <pc:cxnChg chg="add mod">
          <ac:chgData name="Florian Faller" userId="4e496f4204a626e3" providerId="LiveId" clId="{9A21812C-E53D-4018-A66F-CEBBCC2D158E}" dt="2025-04-23T18:28:28.816" v="6887" actId="164"/>
          <ac:cxnSpMkLst>
            <pc:docMk/>
            <pc:sldMk cId="3327734167" sldId="316"/>
            <ac:cxnSpMk id="18" creationId="{602B7E6F-3740-92F3-F3AB-9FF48BD757C5}"/>
          </ac:cxnSpMkLst>
        </pc:cxnChg>
        <pc:cxnChg chg="add mod">
          <ac:chgData name="Florian Faller" userId="4e496f4204a626e3" providerId="LiveId" clId="{9A21812C-E53D-4018-A66F-CEBBCC2D158E}" dt="2025-04-23T18:28:28.816" v="6887" actId="164"/>
          <ac:cxnSpMkLst>
            <pc:docMk/>
            <pc:sldMk cId="3327734167" sldId="316"/>
            <ac:cxnSpMk id="19" creationId="{8B096882-E802-0F5E-9CD0-B43CB68D85EA}"/>
          </ac:cxnSpMkLst>
        </pc:cxnChg>
        <pc:cxnChg chg="add mod">
          <ac:chgData name="Florian Faller" userId="4e496f4204a626e3" providerId="LiveId" clId="{9A21812C-E53D-4018-A66F-CEBBCC2D158E}" dt="2025-04-23T18:28:28.816" v="6887" actId="164"/>
          <ac:cxnSpMkLst>
            <pc:docMk/>
            <pc:sldMk cId="3327734167" sldId="316"/>
            <ac:cxnSpMk id="20" creationId="{BB3C3D50-9220-2685-22A0-8394F6C7B521}"/>
          </ac:cxnSpMkLst>
        </pc:cxnChg>
        <pc:cxnChg chg="add mod">
          <ac:chgData name="Florian Faller" userId="4e496f4204a626e3" providerId="LiveId" clId="{9A21812C-E53D-4018-A66F-CEBBCC2D158E}" dt="2025-04-23T18:28:28.438" v="6886" actId="1076"/>
          <ac:cxnSpMkLst>
            <pc:docMk/>
            <pc:sldMk cId="3327734167" sldId="316"/>
            <ac:cxnSpMk id="21" creationId="{E95D6B80-256D-F10A-DAD8-B14A7D5FF4B8}"/>
          </ac:cxnSpMkLst>
        </pc:cxnChg>
        <pc:cxnChg chg="add mod">
          <ac:chgData name="Florian Faller" userId="4e496f4204a626e3" providerId="LiveId" clId="{9A21812C-E53D-4018-A66F-CEBBCC2D158E}" dt="2025-04-23T18:28:28.816" v="6887" actId="164"/>
          <ac:cxnSpMkLst>
            <pc:docMk/>
            <pc:sldMk cId="3327734167" sldId="316"/>
            <ac:cxnSpMk id="22" creationId="{F7331853-30D5-590A-FC46-D3DDACB79E72}"/>
          </ac:cxnSpMkLst>
        </pc:cxnChg>
        <pc:cxnChg chg="add mod">
          <ac:chgData name="Florian Faller" userId="4e496f4204a626e3" providerId="LiveId" clId="{9A21812C-E53D-4018-A66F-CEBBCC2D158E}" dt="2025-04-23T18:28:28.816" v="6887" actId="164"/>
          <ac:cxnSpMkLst>
            <pc:docMk/>
            <pc:sldMk cId="3327734167" sldId="316"/>
            <ac:cxnSpMk id="23" creationId="{415224AC-A95B-36DA-2387-5694131B1F5C}"/>
          </ac:cxnSpMkLst>
        </pc:cxnChg>
        <pc:cxnChg chg="add mod">
          <ac:chgData name="Florian Faller" userId="4e496f4204a626e3" providerId="LiveId" clId="{9A21812C-E53D-4018-A66F-CEBBCC2D158E}" dt="2025-04-23T18:28:28.816" v="6887" actId="164"/>
          <ac:cxnSpMkLst>
            <pc:docMk/>
            <pc:sldMk cId="3327734167" sldId="316"/>
            <ac:cxnSpMk id="24" creationId="{C44C73E0-568B-3681-0D23-18AE383844AC}"/>
          </ac:cxnSpMkLst>
        </pc:cxnChg>
        <pc:cxnChg chg="add mod">
          <ac:chgData name="Florian Faller" userId="4e496f4204a626e3" providerId="LiveId" clId="{9A21812C-E53D-4018-A66F-CEBBCC2D158E}" dt="2025-04-24T09:34:35.769" v="16365" actId="164"/>
          <ac:cxnSpMkLst>
            <pc:docMk/>
            <pc:sldMk cId="3327734167" sldId="316"/>
            <ac:cxnSpMk id="91" creationId="{60D01A59-5F72-F7D2-299A-F9F59FD7C498}"/>
          </ac:cxnSpMkLst>
        </pc:cxnChg>
        <pc:cxnChg chg="add mod">
          <ac:chgData name="Florian Faller" userId="4e496f4204a626e3" providerId="LiveId" clId="{9A21812C-E53D-4018-A66F-CEBBCC2D158E}" dt="2025-04-24T09:34:35.769" v="16365" actId="164"/>
          <ac:cxnSpMkLst>
            <pc:docMk/>
            <pc:sldMk cId="3327734167" sldId="316"/>
            <ac:cxnSpMk id="93" creationId="{FB9FC196-172B-E671-E6AA-E0577B2AE2C9}"/>
          </ac:cxnSpMkLst>
        </pc:cxnChg>
      </pc:sldChg>
      <pc:sldChg chg="addSp modSp add del mod ord modShow">
        <pc:chgData name="Florian Faller" userId="4e496f4204a626e3" providerId="LiveId" clId="{9A21812C-E53D-4018-A66F-CEBBCC2D158E}" dt="2025-04-24T09:49:14.149" v="16454" actId="47"/>
        <pc:sldMkLst>
          <pc:docMk/>
          <pc:sldMk cId="1579802298" sldId="318"/>
        </pc:sldMkLst>
        <pc:spChg chg="add mod">
          <ac:chgData name="Florian Faller" userId="4e496f4204a626e3" providerId="LiveId" clId="{9A21812C-E53D-4018-A66F-CEBBCC2D158E}" dt="2025-04-23T19:00:24.169" v="7768" actId="1076"/>
          <ac:spMkLst>
            <pc:docMk/>
            <pc:sldMk cId="1579802298" sldId="318"/>
            <ac:spMk id="5" creationId="{204FAC4B-C2A0-31FA-7C8F-1CBB3C9D3EB2}"/>
          </ac:spMkLst>
        </pc:spChg>
        <pc:spChg chg="add mod">
          <ac:chgData name="Florian Faller" userId="4e496f4204a626e3" providerId="LiveId" clId="{9A21812C-E53D-4018-A66F-CEBBCC2D158E}" dt="2025-04-23T22:36:19.889" v="10123" actId="20577"/>
          <ac:spMkLst>
            <pc:docMk/>
            <pc:sldMk cId="1579802298" sldId="318"/>
            <ac:spMk id="10" creationId="{C0DE7307-B509-71A7-E28D-E1261CAFDDE8}"/>
          </ac:spMkLst>
        </pc:spChg>
        <pc:spChg chg="mod">
          <ac:chgData name="Florian Faller" userId="4e496f4204a626e3" providerId="LiveId" clId="{9A21812C-E53D-4018-A66F-CEBBCC2D158E}" dt="2025-04-23T19:02:46.016" v="7807" actId="207"/>
          <ac:spMkLst>
            <pc:docMk/>
            <pc:sldMk cId="1579802298" sldId="318"/>
            <ac:spMk id="28" creationId="{9E349C17-DD61-A045-C6AD-D56967B41F40}"/>
          </ac:spMkLst>
        </pc:spChg>
        <pc:spChg chg="mod">
          <ac:chgData name="Florian Faller" userId="4e496f4204a626e3" providerId="LiveId" clId="{9A21812C-E53D-4018-A66F-CEBBCC2D158E}" dt="2025-04-23T19:00:34.673" v="7769" actId="207"/>
          <ac:spMkLst>
            <pc:docMk/>
            <pc:sldMk cId="1579802298" sldId="318"/>
            <ac:spMk id="29" creationId="{D106F450-B033-018F-6811-8E36556DB11D}"/>
          </ac:spMkLst>
        </pc:spChg>
        <pc:spChg chg="mod">
          <ac:chgData name="Florian Faller" userId="4e496f4204a626e3" providerId="LiveId" clId="{9A21812C-E53D-4018-A66F-CEBBCC2D158E}" dt="2025-04-23T19:02:56.825" v="7810" actId="207"/>
          <ac:spMkLst>
            <pc:docMk/>
            <pc:sldMk cId="1579802298" sldId="318"/>
            <ac:spMk id="30" creationId="{9A893139-22A8-0E98-E38E-EB7E9CB17A1D}"/>
          </ac:spMkLst>
        </pc:spChg>
        <pc:spChg chg="mod">
          <ac:chgData name="Florian Faller" userId="4e496f4204a626e3" providerId="LiveId" clId="{9A21812C-E53D-4018-A66F-CEBBCC2D158E}" dt="2025-04-23T19:02:59.426" v="7811" actId="20577"/>
          <ac:spMkLst>
            <pc:docMk/>
            <pc:sldMk cId="1579802298" sldId="318"/>
            <ac:spMk id="31" creationId="{62645323-B01D-67CC-F116-F2CC2388DBD5}"/>
          </ac:spMkLst>
        </pc:spChg>
        <pc:spChg chg="mod">
          <ac:chgData name="Florian Faller" userId="4e496f4204a626e3" providerId="LiveId" clId="{9A21812C-E53D-4018-A66F-CEBBCC2D158E}" dt="2025-04-23T21:31:43.047" v="10017" actId="207"/>
          <ac:spMkLst>
            <pc:docMk/>
            <pc:sldMk cId="1579802298" sldId="318"/>
            <ac:spMk id="32" creationId="{DAD47144-DAF9-8CCC-C463-6B9FF041E588}"/>
          </ac:spMkLst>
        </pc:spChg>
        <pc:spChg chg="mod">
          <ac:chgData name="Florian Faller" userId="4e496f4204a626e3" providerId="LiveId" clId="{9A21812C-E53D-4018-A66F-CEBBCC2D158E}" dt="2025-04-23T19:04:11.597" v="7831" actId="207"/>
          <ac:spMkLst>
            <pc:docMk/>
            <pc:sldMk cId="1579802298" sldId="318"/>
            <ac:spMk id="35" creationId="{3785ABE7-B613-AFF4-4EBB-80A79AB849A9}"/>
          </ac:spMkLst>
        </pc:spChg>
        <pc:spChg chg="mod">
          <ac:chgData name="Florian Faller" userId="4e496f4204a626e3" providerId="LiveId" clId="{9A21812C-E53D-4018-A66F-CEBBCC2D158E}" dt="2025-04-23T19:03:55.280" v="7829" actId="207"/>
          <ac:spMkLst>
            <pc:docMk/>
            <pc:sldMk cId="1579802298" sldId="318"/>
            <ac:spMk id="36" creationId="{EFC2AD1D-6EA3-FBBB-F742-032C59EB32C6}"/>
          </ac:spMkLst>
        </pc:spChg>
      </pc:sldChg>
      <pc:sldChg chg="addSp delSp modSp add del mod">
        <pc:chgData name="Florian Faller" userId="4e496f4204a626e3" providerId="LiveId" clId="{9A21812C-E53D-4018-A66F-CEBBCC2D158E}" dt="2025-04-23T18:49:08.508" v="7731" actId="47"/>
        <pc:sldMkLst>
          <pc:docMk/>
          <pc:sldMk cId="2424561823" sldId="318"/>
        </pc:sldMkLst>
        <pc:spChg chg="del">
          <ac:chgData name="Florian Faller" userId="4e496f4204a626e3" providerId="LiveId" clId="{9A21812C-E53D-4018-A66F-CEBBCC2D158E}" dt="2025-04-23T18:48:49.148" v="7727" actId="478"/>
          <ac:spMkLst>
            <pc:docMk/>
            <pc:sldMk cId="2424561823" sldId="318"/>
            <ac:spMk id="4" creationId="{FA05BE4A-17BE-D342-E81B-BFA73B195214}"/>
          </ac:spMkLst>
        </pc:spChg>
        <pc:spChg chg="add mod">
          <ac:chgData name="Florian Faller" userId="4e496f4204a626e3" providerId="LiveId" clId="{9A21812C-E53D-4018-A66F-CEBBCC2D158E}" dt="2025-04-23T18:48:49.623" v="7728"/>
          <ac:spMkLst>
            <pc:docMk/>
            <pc:sldMk cId="2424561823" sldId="318"/>
            <ac:spMk id="5" creationId="{82455A45-0503-DA13-6355-BEACA937CB72}"/>
          </ac:spMkLst>
        </pc:spChg>
        <pc:spChg chg="del">
          <ac:chgData name="Florian Faller" userId="4e496f4204a626e3" providerId="LiveId" clId="{9A21812C-E53D-4018-A66F-CEBBCC2D158E}" dt="2025-04-23T18:48:49.148" v="7727" actId="478"/>
          <ac:spMkLst>
            <pc:docMk/>
            <pc:sldMk cId="2424561823" sldId="318"/>
            <ac:spMk id="9" creationId="{EF04724F-FC48-EF5D-BC3E-C448DDC762E8}"/>
          </ac:spMkLst>
        </pc:spChg>
        <pc:spChg chg="add mod">
          <ac:chgData name="Florian Faller" userId="4e496f4204a626e3" providerId="LiveId" clId="{9A21812C-E53D-4018-A66F-CEBBCC2D158E}" dt="2025-04-23T18:48:49.623" v="7728"/>
          <ac:spMkLst>
            <pc:docMk/>
            <pc:sldMk cId="2424561823" sldId="318"/>
            <ac:spMk id="10" creationId="{FDD56E1C-F881-55FA-7EA2-24BE45DCD2BE}"/>
          </ac:spMkLst>
        </pc:spChg>
        <pc:spChg chg="del">
          <ac:chgData name="Florian Faller" userId="4e496f4204a626e3" providerId="LiveId" clId="{9A21812C-E53D-4018-A66F-CEBBCC2D158E}" dt="2025-04-23T18:48:49.148" v="7727" actId="478"/>
          <ac:spMkLst>
            <pc:docMk/>
            <pc:sldMk cId="2424561823" sldId="318"/>
            <ac:spMk id="11" creationId="{C64BE013-EEC5-2772-7545-D2AF78CA3FFE}"/>
          </ac:spMkLst>
        </pc:spChg>
        <pc:spChg chg="add mod">
          <ac:chgData name="Florian Faller" userId="4e496f4204a626e3" providerId="LiveId" clId="{9A21812C-E53D-4018-A66F-CEBBCC2D158E}" dt="2025-04-23T18:48:49.623" v="7728"/>
          <ac:spMkLst>
            <pc:docMk/>
            <pc:sldMk cId="2424561823" sldId="318"/>
            <ac:spMk id="12" creationId="{D4A3A029-F9E0-FD9E-4B2D-D063646BFCD1}"/>
          </ac:spMkLst>
        </pc:spChg>
        <pc:spChg chg="del">
          <ac:chgData name="Florian Faller" userId="4e496f4204a626e3" providerId="LiveId" clId="{9A21812C-E53D-4018-A66F-CEBBCC2D158E}" dt="2025-04-23T18:48:49.148" v="7727" actId="478"/>
          <ac:spMkLst>
            <pc:docMk/>
            <pc:sldMk cId="2424561823" sldId="318"/>
            <ac:spMk id="13" creationId="{0D3028D8-2F69-1A1A-4989-B0A6E30F7191}"/>
          </ac:spMkLst>
        </pc:spChg>
        <pc:spChg chg="add mod">
          <ac:chgData name="Florian Faller" userId="4e496f4204a626e3" providerId="LiveId" clId="{9A21812C-E53D-4018-A66F-CEBBCC2D158E}" dt="2025-04-23T18:48:49.623" v="7728"/>
          <ac:spMkLst>
            <pc:docMk/>
            <pc:sldMk cId="2424561823" sldId="318"/>
            <ac:spMk id="14" creationId="{A28DB798-D9E5-B3C5-F46C-967D65126BD9}"/>
          </ac:spMkLst>
        </pc:spChg>
        <pc:spChg chg="add mod">
          <ac:chgData name="Florian Faller" userId="4e496f4204a626e3" providerId="LiveId" clId="{9A21812C-E53D-4018-A66F-CEBBCC2D158E}" dt="2025-04-23T18:48:59.414" v="7730" actId="1076"/>
          <ac:spMkLst>
            <pc:docMk/>
            <pc:sldMk cId="2424561823" sldId="318"/>
            <ac:spMk id="25" creationId="{6C7E4243-3B2A-FA07-36B3-CCB4C3FCA908}"/>
          </ac:spMkLst>
        </pc:spChg>
        <pc:spChg chg="add mod">
          <ac:chgData name="Florian Faller" userId="4e496f4204a626e3" providerId="LiveId" clId="{9A21812C-E53D-4018-A66F-CEBBCC2D158E}" dt="2025-04-23T18:48:59.414" v="7730" actId="1076"/>
          <ac:spMkLst>
            <pc:docMk/>
            <pc:sldMk cId="2424561823" sldId="318"/>
            <ac:spMk id="26" creationId="{AA0003A7-EC3E-59B5-2F77-2ABDF7268343}"/>
          </ac:spMkLst>
        </pc:spChg>
        <pc:spChg chg="del">
          <ac:chgData name="Florian Faller" userId="4e496f4204a626e3" providerId="LiveId" clId="{9A21812C-E53D-4018-A66F-CEBBCC2D158E}" dt="2025-04-23T18:48:49.148" v="7727" actId="478"/>
          <ac:spMkLst>
            <pc:docMk/>
            <pc:sldMk cId="2424561823" sldId="318"/>
            <ac:spMk id="28" creationId="{47B0CE48-60B9-2AA4-95EA-2E94B5AA8100}"/>
          </ac:spMkLst>
        </pc:spChg>
        <pc:spChg chg="del">
          <ac:chgData name="Florian Faller" userId="4e496f4204a626e3" providerId="LiveId" clId="{9A21812C-E53D-4018-A66F-CEBBCC2D158E}" dt="2025-04-23T18:48:49.148" v="7727" actId="478"/>
          <ac:spMkLst>
            <pc:docMk/>
            <pc:sldMk cId="2424561823" sldId="318"/>
            <ac:spMk id="29" creationId="{C9DE829E-49FF-39F3-B900-4E7AA977EA98}"/>
          </ac:spMkLst>
        </pc:spChg>
        <pc:spChg chg="del">
          <ac:chgData name="Florian Faller" userId="4e496f4204a626e3" providerId="LiveId" clId="{9A21812C-E53D-4018-A66F-CEBBCC2D158E}" dt="2025-04-23T18:48:49.148" v="7727" actId="478"/>
          <ac:spMkLst>
            <pc:docMk/>
            <pc:sldMk cId="2424561823" sldId="318"/>
            <ac:spMk id="30" creationId="{D34E055E-EEF3-B958-1021-55296C8D0AAF}"/>
          </ac:spMkLst>
        </pc:spChg>
        <pc:spChg chg="del">
          <ac:chgData name="Florian Faller" userId="4e496f4204a626e3" providerId="LiveId" clId="{9A21812C-E53D-4018-A66F-CEBBCC2D158E}" dt="2025-04-23T18:48:49.148" v="7727" actId="478"/>
          <ac:spMkLst>
            <pc:docMk/>
            <pc:sldMk cId="2424561823" sldId="318"/>
            <ac:spMk id="31" creationId="{190DC522-B751-A79A-235A-2462AF8D919B}"/>
          </ac:spMkLst>
        </pc:spChg>
        <pc:spChg chg="del">
          <ac:chgData name="Florian Faller" userId="4e496f4204a626e3" providerId="LiveId" clId="{9A21812C-E53D-4018-A66F-CEBBCC2D158E}" dt="2025-04-23T18:48:49.148" v="7727" actId="478"/>
          <ac:spMkLst>
            <pc:docMk/>
            <pc:sldMk cId="2424561823" sldId="318"/>
            <ac:spMk id="32" creationId="{AE4CAB03-8938-E0ED-2576-B92D645934B0}"/>
          </ac:spMkLst>
        </pc:spChg>
        <pc:spChg chg="add mod">
          <ac:chgData name="Florian Faller" userId="4e496f4204a626e3" providerId="LiveId" clId="{9A21812C-E53D-4018-A66F-CEBBCC2D158E}" dt="2025-04-23T18:48:59.414" v="7730" actId="1076"/>
          <ac:spMkLst>
            <pc:docMk/>
            <pc:sldMk cId="2424561823" sldId="318"/>
            <ac:spMk id="33" creationId="{DCCDD97A-5977-C6E5-1BAD-BCA585AC82AB}"/>
          </ac:spMkLst>
        </pc:spChg>
        <pc:spChg chg="del">
          <ac:chgData name="Florian Faller" userId="4e496f4204a626e3" providerId="LiveId" clId="{9A21812C-E53D-4018-A66F-CEBBCC2D158E}" dt="2025-04-23T18:48:49.148" v="7727" actId="478"/>
          <ac:spMkLst>
            <pc:docMk/>
            <pc:sldMk cId="2424561823" sldId="318"/>
            <ac:spMk id="36" creationId="{007164D1-655F-41F5-CF3C-FAC1C68DFB58}"/>
          </ac:spMkLst>
        </pc:spChg>
      </pc:sldChg>
      <pc:sldChg chg="addSp delSp modSp add mod modAnim">
        <pc:chgData name="Florian Faller" userId="4e496f4204a626e3" providerId="LiveId" clId="{9A21812C-E53D-4018-A66F-CEBBCC2D158E}" dt="2025-04-24T09:20:43.610" v="16204"/>
        <pc:sldMkLst>
          <pc:docMk/>
          <pc:sldMk cId="142540730" sldId="319"/>
        </pc:sldMkLst>
        <pc:spChg chg="del">
          <ac:chgData name="Florian Faller" userId="4e496f4204a626e3" providerId="LiveId" clId="{9A21812C-E53D-4018-A66F-CEBBCC2D158E}" dt="2025-04-23T20:11:30.274" v="8087" actId="478"/>
          <ac:spMkLst>
            <pc:docMk/>
            <pc:sldMk cId="142540730" sldId="319"/>
            <ac:spMk id="2" creationId="{344BC9DD-49A3-DEF2-9018-D5772A00041E}"/>
          </ac:spMkLst>
        </pc:spChg>
        <pc:spChg chg="del">
          <ac:chgData name="Florian Faller" userId="4e496f4204a626e3" providerId="LiveId" clId="{9A21812C-E53D-4018-A66F-CEBBCC2D158E}" dt="2025-04-24T08:43:24.363" v="15220" actId="478"/>
          <ac:spMkLst>
            <pc:docMk/>
            <pc:sldMk cId="142540730" sldId="319"/>
            <ac:spMk id="4" creationId="{059D37F8-AB10-0837-7E06-D61326352E19}"/>
          </ac:spMkLst>
        </pc:spChg>
        <pc:spChg chg="add mod">
          <ac:chgData name="Florian Faller" userId="4e496f4204a626e3" providerId="LiveId" clId="{9A21812C-E53D-4018-A66F-CEBBCC2D158E}" dt="2025-04-23T20:12:10.803" v="8093"/>
          <ac:spMkLst>
            <pc:docMk/>
            <pc:sldMk cId="142540730" sldId="319"/>
            <ac:spMk id="6" creationId="{27E8AFF6-A431-C176-CB90-3FF36E214D21}"/>
          </ac:spMkLst>
        </pc:spChg>
        <pc:spChg chg="add mod">
          <ac:chgData name="Florian Faller" userId="4e496f4204a626e3" providerId="LiveId" clId="{9A21812C-E53D-4018-A66F-CEBBCC2D158E}" dt="2025-04-23T20:12:08.539" v="8092"/>
          <ac:spMkLst>
            <pc:docMk/>
            <pc:sldMk cId="142540730" sldId="319"/>
            <ac:spMk id="7" creationId="{D93D92F8-CC0E-44B9-B124-101DE2E3A0E4}"/>
          </ac:spMkLst>
        </pc:spChg>
        <pc:spChg chg="add mod">
          <ac:chgData name="Florian Faller" userId="4e496f4204a626e3" providerId="LiveId" clId="{9A21812C-E53D-4018-A66F-CEBBCC2D158E}" dt="2025-04-23T20:14:19.445" v="8220" actId="1076"/>
          <ac:spMkLst>
            <pc:docMk/>
            <pc:sldMk cId="142540730" sldId="319"/>
            <ac:spMk id="9" creationId="{CD16AA48-EBC8-1063-DA5D-F3C3C48AFE83}"/>
          </ac:spMkLst>
        </pc:spChg>
        <pc:spChg chg="add mod">
          <ac:chgData name="Florian Faller" userId="4e496f4204a626e3" providerId="LiveId" clId="{9A21812C-E53D-4018-A66F-CEBBCC2D158E}" dt="2025-04-23T20:14:19.445" v="8220" actId="1076"/>
          <ac:spMkLst>
            <pc:docMk/>
            <pc:sldMk cId="142540730" sldId="319"/>
            <ac:spMk id="10" creationId="{EDCD1470-9524-D3FE-BD66-B755D8AEC17F}"/>
          </ac:spMkLst>
        </pc:spChg>
        <pc:spChg chg="add mod">
          <ac:chgData name="Florian Faller" userId="4e496f4204a626e3" providerId="LiveId" clId="{9A21812C-E53D-4018-A66F-CEBBCC2D158E}" dt="2025-04-24T08:43:35.332" v="15228" actId="20577"/>
          <ac:spMkLst>
            <pc:docMk/>
            <pc:sldMk cId="142540730" sldId="319"/>
            <ac:spMk id="12" creationId="{9A870CC5-7F32-A406-D15C-07CD96D5D492}"/>
          </ac:spMkLst>
        </pc:spChg>
        <pc:picChg chg="add del mod">
          <ac:chgData name="Florian Faller" userId="4e496f4204a626e3" providerId="LiveId" clId="{9A21812C-E53D-4018-A66F-CEBBCC2D158E}" dt="2025-04-23T20:12:14.847" v="8096" actId="478"/>
          <ac:picMkLst>
            <pc:docMk/>
            <pc:sldMk cId="142540730" sldId="319"/>
            <ac:picMk id="8" creationId="{78ADF50E-9840-5B06-6339-80C35257ABCC}"/>
          </ac:picMkLst>
        </pc:picChg>
      </pc:sldChg>
      <pc:sldChg chg="addSp delSp modSp new del mod ord modShow">
        <pc:chgData name="Florian Faller" userId="4e496f4204a626e3" providerId="LiveId" clId="{9A21812C-E53D-4018-A66F-CEBBCC2D158E}" dt="2025-04-24T09:49:14.149" v="16454" actId="47"/>
        <pc:sldMkLst>
          <pc:docMk/>
          <pc:sldMk cId="1667961473" sldId="320"/>
        </pc:sldMkLst>
        <pc:spChg chg="mod ord">
          <ac:chgData name="Florian Faller" userId="4e496f4204a626e3" providerId="LiveId" clId="{9A21812C-E53D-4018-A66F-CEBBCC2D158E}" dt="2025-04-23T20:33:20.679" v="9097"/>
          <ac:spMkLst>
            <pc:docMk/>
            <pc:sldMk cId="1667961473" sldId="320"/>
            <ac:spMk id="2" creationId="{33C6713E-AA6A-2958-7671-9CC043C0C0E5}"/>
          </ac:spMkLst>
        </pc:spChg>
        <pc:spChg chg="mod ord">
          <ac:chgData name="Florian Faller" userId="4e496f4204a626e3" providerId="LiveId" clId="{9A21812C-E53D-4018-A66F-CEBBCC2D158E}" dt="2025-04-23T20:33:20.679" v="9099"/>
          <ac:spMkLst>
            <pc:docMk/>
            <pc:sldMk cId="1667961473" sldId="320"/>
            <ac:spMk id="3" creationId="{81F554FD-3776-44F9-F337-847B3F858D18}"/>
          </ac:spMkLst>
        </pc:spChg>
        <pc:spChg chg="mod ord">
          <ac:chgData name="Florian Faller" userId="4e496f4204a626e3" providerId="LiveId" clId="{9A21812C-E53D-4018-A66F-CEBBCC2D158E}" dt="2025-04-23T20:33:20.686" v="9101"/>
          <ac:spMkLst>
            <pc:docMk/>
            <pc:sldMk cId="1667961473" sldId="320"/>
            <ac:spMk id="4" creationId="{2AFFCA6E-EA67-2DE7-ADE4-70BA9DD21ED9}"/>
          </ac:spMkLst>
        </pc:spChg>
        <pc:spChg chg="del">
          <ac:chgData name="Florian Faller" userId="4e496f4204a626e3" providerId="LiveId" clId="{9A21812C-E53D-4018-A66F-CEBBCC2D158E}" dt="2025-04-23T20:25:53.288" v="8756" actId="478"/>
          <ac:spMkLst>
            <pc:docMk/>
            <pc:sldMk cId="1667961473" sldId="320"/>
            <ac:spMk id="5" creationId="{56987F47-FA69-65CB-1B45-EA86B30CCE09}"/>
          </ac:spMkLst>
        </pc:spChg>
        <pc:spChg chg="mod ord">
          <ac:chgData name="Florian Faller" userId="4e496f4204a626e3" providerId="LiveId" clId="{9A21812C-E53D-4018-A66F-CEBBCC2D158E}" dt="2025-04-23T20:49:20.004" v="9444" actId="3064"/>
          <ac:spMkLst>
            <pc:docMk/>
            <pc:sldMk cId="1667961473" sldId="320"/>
            <ac:spMk id="6" creationId="{CF8A684A-0160-1373-E77E-C0D7F5EF3760}"/>
          </ac:spMkLst>
        </pc:spChg>
        <pc:spChg chg="mod ord">
          <ac:chgData name="Florian Faller" userId="4e496f4204a626e3" providerId="LiveId" clId="{9A21812C-E53D-4018-A66F-CEBBCC2D158E}" dt="2025-04-23T20:49:20.004" v="9444" actId="3064"/>
          <ac:spMkLst>
            <pc:docMk/>
            <pc:sldMk cId="1667961473" sldId="320"/>
            <ac:spMk id="7" creationId="{9D5B7A4B-FB66-354E-757B-2169903D8AB0}"/>
          </ac:spMkLst>
        </pc:spChg>
        <pc:spChg chg="mod ord">
          <ac:chgData name="Florian Faller" userId="4e496f4204a626e3" providerId="LiveId" clId="{9A21812C-E53D-4018-A66F-CEBBCC2D158E}" dt="2025-04-23T20:49:20.004" v="9444" actId="3064"/>
          <ac:spMkLst>
            <pc:docMk/>
            <pc:sldMk cId="1667961473" sldId="320"/>
            <ac:spMk id="8" creationId="{976AAB53-9BA1-048B-7F62-0D70C8EEEBB4}"/>
          </ac:spMkLst>
        </pc:spChg>
        <pc:spChg chg="mod ord">
          <ac:chgData name="Florian Faller" userId="4e496f4204a626e3" providerId="LiveId" clId="{9A21812C-E53D-4018-A66F-CEBBCC2D158E}" dt="2025-04-23T20:36:52.091" v="9324" actId="2085"/>
          <ac:spMkLst>
            <pc:docMk/>
            <pc:sldMk cId="1667961473" sldId="320"/>
            <ac:spMk id="9" creationId="{B3E31BF4-8A6B-69C6-3429-594F00A22615}"/>
          </ac:spMkLst>
        </pc:spChg>
        <pc:spChg chg="mod ord">
          <ac:chgData name="Florian Faller" userId="4e496f4204a626e3" providerId="LiveId" clId="{9A21812C-E53D-4018-A66F-CEBBCC2D158E}" dt="2025-04-23T20:51:20.025" v="9474" actId="20577"/>
          <ac:spMkLst>
            <pc:docMk/>
            <pc:sldMk cId="1667961473" sldId="320"/>
            <ac:spMk id="10" creationId="{FF31F270-416B-D51A-39BD-174F5D1C264D}"/>
          </ac:spMkLst>
        </pc:spChg>
        <pc:spChg chg="mod ord">
          <ac:chgData name="Florian Faller" userId="4e496f4204a626e3" providerId="LiveId" clId="{9A21812C-E53D-4018-A66F-CEBBCC2D158E}" dt="2025-04-23T20:51:13.352" v="9470" actId="20577"/>
          <ac:spMkLst>
            <pc:docMk/>
            <pc:sldMk cId="1667961473" sldId="320"/>
            <ac:spMk id="11" creationId="{E05EDAB9-38BC-2E1E-0DC4-F94B6F23DFAE}"/>
          </ac:spMkLst>
        </pc:spChg>
        <pc:spChg chg="del">
          <ac:chgData name="Florian Faller" userId="4e496f4204a626e3" providerId="LiveId" clId="{9A21812C-E53D-4018-A66F-CEBBCC2D158E}" dt="2025-04-23T20:25:53.288" v="8756" actId="478"/>
          <ac:spMkLst>
            <pc:docMk/>
            <pc:sldMk cId="1667961473" sldId="320"/>
            <ac:spMk id="12" creationId="{768819E1-23A6-0B45-850A-3CD5E2D6C22A}"/>
          </ac:spMkLst>
        </pc:spChg>
        <pc:spChg chg="add mod ord">
          <ac:chgData name="Florian Faller" userId="4e496f4204a626e3" providerId="LiveId" clId="{9A21812C-E53D-4018-A66F-CEBBCC2D158E}" dt="2025-04-23T20:33:20.688" v="9115"/>
          <ac:spMkLst>
            <pc:docMk/>
            <pc:sldMk cId="1667961473" sldId="320"/>
            <ac:spMk id="14" creationId="{1A1BA74E-B54C-D277-BCC9-E768A3C8F308}"/>
          </ac:spMkLst>
        </pc:spChg>
        <pc:spChg chg="add mod ord">
          <ac:chgData name="Florian Faller" userId="4e496f4204a626e3" providerId="LiveId" clId="{9A21812C-E53D-4018-A66F-CEBBCC2D158E}" dt="2025-04-23T20:33:20.702" v="9117"/>
          <ac:spMkLst>
            <pc:docMk/>
            <pc:sldMk cId="1667961473" sldId="320"/>
            <ac:spMk id="15" creationId="{2064C7BA-F3D5-2FCA-985F-E4E19782D81C}"/>
          </ac:spMkLst>
        </pc:spChg>
        <pc:spChg chg="add del mod">
          <ac:chgData name="Florian Faller" userId="4e496f4204a626e3" providerId="LiveId" clId="{9A21812C-E53D-4018-A66F-CEBBCC2D158E}" dt="2025-04-23T20:31:19.611" v="9066" actId="478"/>
          <ac:spMkLst>
            <pc:docMk/>
            <pc:sldMk cId="1667961473" sldId="320"/>
            <ac:spMk id="16" creationId="{4469977E-8A31-D3DB-F56D-ABE81D8DA61E}"/>
          </ac:spMkLst>
        </pc:spChg>
        <pc:spChg chg="add mod ord">
          <ac:chgData name="Florian Faller" userId="4e496f4204a626e3" providerId="LiveId" clId="{9A21812C-E53D-4018-A66F-CEBBCC2D158E}" dt="2025-04-23T20:36:52.091" v="9324" actId="2085"/>
          <ac:spMkLst>
            <pc:docMk/>
            <pc:sldMk cId="1667961473" sldId="320"/>
            <ac:spMk id="17" creationId="{056690F8-F65A-8053-24C8-40DECA3EE891}"/>
          </ac:spMkLst>
        </pc:spChg>
        <pc:spChg chg="add mod ord">
          <ac:chgData name="Florian Faller" userId="4e496f4204a626e3" providerId="LiveId" clId="{9A21812C-E53D-4018-A66F-CEBBCC2D158E}" dt="2025-04-23T20:36:52.091" v="9324" actId="2085"/>
          <ac:spMkLst>
            <pc:docMk/>
            <pc:sldMk cId="1667961473" sldId="320"/>
            <ac:spMk id="18" creationId="{9E854681-5C20-8E9E-14E4-BF76B42C0A7A}"/>
          </ac:spMkLst>
        </pc:spChg>
        <pc:spChg chg="add mod ord">
          <ac:chgData name="Florian Faller" userId="4e496f4204a626e3" providerId="LiveId" clId="{9A21812C-E53D-4018-A66F-CEBBCC2D158E}" dt="2025-04-23T20:36:52.091" v="9324" actId="2085"/>
          <ac:spMkLst>
            <pc:docMk/>
            <pc:sldMk cId="1667961473" sldId="320"/>
            <ac:spMk id="19" creationId="{18C6F1C4-7482-79E8-EE7A-A234600550FD}"/>
          </ac:spMkLst>
        </pc:spChg>
        <pc:graphicFrameChg chg="add mod ord modVis">
          <ac:chgData name="Florian Faller" userId="4e496f4204a626e3" providerId="LiveId" clId="{9A21812C-E53D-4018-A66F-CEBBCC2D158E}" dt="2025-04-23T20:33:20.702" v="9119"/>
          <ac:graphicFrameMkLst>
            <pc:docMk/>
            <pc:sldMk cId="1667961473" sldId="320"/>
            <ac:graphicFrameMk id="13" creationId="{E10B3992-1BA1-70DD-7337-AEC7E675C835}"/>
          </ac:graphicFrameMkLst>
        </pc:graphicFrameChg>
      </pc:sldChg>
      <pc:sldChg chg="add del">
        <pc:chgData name="Florian Faller" userId="4e496f4204a626e3" providerId="LiveId" clId="{9A21812C-E53D-4018-A66F-CEBBCC2D158E}" dt="2025-04-23T20:38:00.272" v="9353" actId="47"/>
        <pc:sldMkLst>
          <pc:docMk/>
          <pc:sldMk cId="772740136" sldId="321"/>
        </pc:sldMkLst>
      </pc:sldChg>
      <pc:sldChg chg="modSp add del mod">
        <pc:chgData name="Florian Faller" userId="4e496f4204a626e3" providerId="LiveId" clId="{9A21812C-E53D-4018-A66F-CEBBCC2D158E}" dt="2025-04-23T21:07:39.382" v="9878" actId="47"/>
        <pc:sldMkLst>
          <pc:docMk/>
          <pc:sldMk cId="3001898505" sldId="321"/>
        </pc:sldMkLst>
        <pc:spChg chg="mod">
          <ac:chgData name="Florian Faller" userId="4e496f4204a626e3" providerId="LiveId" clId="{9A21812C-E53D-4018-A66F-CEBBCC2D158E}" dt="2025-04-23T20:40:17.815" v="9438" actId="20577"/>
          <ac:spMkLst>
            <pc:docMk/>
            <pc:sldMk cId="3001898505" sldId="321"/>
            <ac:spMk id="30" creationId="{549B4BD2-D383-17FE-33A8-5351CEC7FCB4}"/>
          </ac:spMkLst>
        </pc:spChg>
      </pc:sldChg>
      <pc:sldChg chg="new del">
        <pc:chgData name="Florian Faller" userId="4e496f4204a626e3" providerId="LiveId" clId="{9A21812C-E53D-4018-A66F-CEBBCC2D158E}" dt="2025-04-23T20:37:37.576" v="9347" actId="47"/>
        <pc:sldMkLst>
          <pc:docMk/>
          <pc:sldMk cId="276438016" sldId="322"/>
        </pc:sldMkLst>
      </pc:sldChg>
      <pc:sldChg chg="addSp delSp modSp add mod modAnim">
        <pc:chgData name="Florian Faller" userId="4e496f4204a626e3" providerId="LiveId" clId="{9A21812C-E53D-4018-A66F-CEBBCC2D158E}" dt="2025-04-24T09:44:09.612" v="16445"/>
        <pc:sldMkLst>
          <pc:docMk/>
          <pc:sldMk cId="828009340" sldId="322"/>
        </pc:sldMkLst>
        <pc:spChg chg="add del mod">
          <ac:chgData name="Florian Faller" userId="4e496f4204a626e3" providerId="LiveId" clId="{9A21812C-E53D-4018-A66F-CEBBCC2D158E}" dt="2025-04-24T06:35:16.194" v="12150" actId="478"/>
          <ac:spMkLst>
            <pc:docMk/>
            <pc:sldMk cId="828009340" sldId="322"/>
            <ac:spMk id="6" creationId="{ACD91CD8-85FB-A4DD-915F-3C9F3F6C5503}"/>
          </ac:spMkLst>
        </pc:spChg>
        <pc:spChg chg="add del mod modVis">
          <ac:chgData name="Florian Faller" userId="4e496f4204a626e3" providerId="LiveId" clId="{9A21812C-E53D-4018-A66F-CEBBCC2D158E}" dt="2025-04-23T22:46:17.938" v="11273"/>
          <ac:spMkLst>
            <pc:docMk/>
            <pc:sldMk cId="828009340" sldId="322"/>
            <ac:spMk id="25" creationId="{BAE9A1C8-5B16-D8A8-963C-4B55B63DEA1D}"/>
          </ac:spMkLst>
        </pc:spChg>
        <pc:spChg chg="add del mod modVis">
          <ac:chgData name="Florian Faller" userId="4e496f4204a626e3" providerId="LiveId" clId="{9A21812C-E53D-4018-A66F-CEBBCC2D158E}" dt="2025-04-23T22:46:23.782" v="11319"/>
          <ac:spMkLst>
            <pc:docMk/>
            <pc:sldMk cId="828009340" sldId="322"/>
            <ac:spMk id="26" creationId="{310CBBDA-8189-F354-218D-93C164DF0AB6}"/>
          </ac:spMkLst>
        </pc:spChg>
        <pc:spChg chg="mod">
          <ac:chgData name="Florian Faller" userId="4e496f4204a626e3" providerId="LiveId" clId="{9A21812C-E53D-4018-A66F-CEBBCC2D158E}" dt="2025-04-24T06:35:28.888" v="12152" actId="164"/>
          <ac:spMkLst>
            <pc:docMk/>
            <pc:sldMk cId="828009340" sldId="322"/>
            <ac:spMk id="27" creationId="{39D4DB82-7754-A45D-4065-630116C75786}"/>
          </ac:spMkLst>
        </pc:spChg>
        <pc:spChg chg="add del mod modVis">
          <ac:chgData name="Florian Faller" userId="4e496f4204a626e3" providerId="LiveId" clId="{9A21812C-E53D-4018-A66F-CEBBCC2D158E}" dt="2025-04-23T22:46:26.950" v="11360"/>
          <ac:spMkLst>
            <pc:docMk/>
            <pc:sldMk cId="828009340" sldId="322"/>
            <ac:spMk id="28" creationId="{4C374641-D610-48A4-0E5F-E27E729B2FF9}"/>
          </ac:spMkLst>
        </pc:spChg>
        <pc:spChg chg="add del mod modVis">
          <ac:chgData name="Florian Faller" userId="4e496f4204a626e3" providerId="LiveId" clId="{9A21812C-E53D-4018-A66F-CEBBCC2D158E}" dt="2025-04-23T22:46:29.835" v="11389"/>
          <ac:spMkLst>
            <pc:docMk/>
            <pc:sldMk cId="828009340" sldId="322"/>
            <ac:spMk id="29" creationId="{E8A71862-B51D-61B8-D85F-5908A2E73181}"/>
          </ac:spMkLst>
        </pc:spChg>
        <pc:spChg chg="add del mod modVis">
          <ac:chgData name="Florian Faller" userId="4e496f4204a626e3" providerId="LiveId" clId="{9A21812C-E53D-4018-A66F-CEBBCC2D158E}" dt="2025-04-23T22:46:34.502" v="11444"/>
          <ac:spMkLst>
            <pc:docMk/>
            <pc:sldMk cId="828009340" sldId="322"/>
            <ac:spMk id="30" creationId="{0FDEC6F9-0AE6-BF6D-179D-1784158E2A8E}"/>
          </ac:spMkLst>
        </pc:spChg>
        <pc:spChg chg="add del mod modVis">
          <ac:chgData name="Florian Faller" userId="4e496f4204a626e3" providerId="LiveId" clId="{9A21812C-E53D-4018-A66F-CEBBCC2D158E}" dt="2025-04-23T22:46:35.813" v="11474"/>
          <ac:spMkLst>
            <pc:docMk/>
            <pc:sldMk cId="828009340" sldId="322"/>
            <ac:spMk id="32" creationId="{75F2A81D-3EF6-37A8-7A2D-FA8E756965B4}"/>
          </ac:spMkLst>
        </pc:spChg>
        <pc:spChg chg="mod">
          <ac:chgData name="Florian Faller" userId="4e496f4204a626e3" providerId="LiveId" clId="{9A21812C-E53D-4018-A66F-CEBBCC2D158E}" dt="2025-04-23T22:47:28.947" v="12028" actId="948"/>
          <ac:spMkLst>
            <pc:docMk/>
            <pc:sldMk cId="828009340" sldId="322"/>
            <ac:spMk id="34" creationId="{5AF886ED-2C23-220B-62D6-565EC7860E4B}"/>
          </ac:spMkLst>
        </pc:spChg>
        <pc:spChg chg="add del mod modVis">
          <ac:chgData name="Florian Faller" userId="4e496f4204a626e3" providerId="LiveId" clId="{9A21812C-E53D-4018-A66F-CEBBCC2D158E}" dt="2025-04-23T22:46:40.930" v="11516"/>
          <ac:spMkLst>
            <pc:docMk/>
            <pc:sldMk cId="828009340" sldId="322"/>
            <ac:spMk id="35" creationId="{10595440-6846-1B2D-A03C-31FB055BDF2A}"/>
          </ac:spMkLst>
        </pc:spChg>
        <pc:spChg chg="add del mod modVis">
          <ac:chgData name="Florian Faller" userId="4e496f4204a626e3" providerId="LiveId" clId="{9A21812C-E53D-4018-A66F-CEBBCC2D158E}" dt="2025-04-23T22:46:41.565" v="11544"/>
          <ac:spMkLst>
            <pc:docMk/>
            <pc:sldMk cId="828009340" sldId="322"/>
            <ac:spMk id="36" creationId="{83A555A4-0642-738D-041A-2F1D570F777D}"/>
          </ac:spMkLst>
        </pc:spChg>
        <pc:spChg chg="add del mod modVis">
          <ac:chgData name="Florian Faller" userId="4e496f4204a626e3" providerId="LiveId" clId="{9A21812C-E53D-4018-A66F-CEBBCC2D158E}" dt="2025-04-23T22:46:43.150" v="11576"/>
          <ac:spMkLst>
            <pc:docMk/>
            <pc:sldMk cId="828009340" sldId="322"/>
            <ac:spMk id="37" creationId="{A217B7A1-8F63-2154-7000-42549FFBA11F}"/>
          </ac:spMkLst>
        </pc:spChg>
        <pc:spChg chg="add del mod modVis">
          <ac:chgData name="Florian Faller" userId="4e496f4204a626e3" providerId="LiveId" clId="{9A21812C-E53D-4018-A66F-CEBBCC2D158E}" dt="2025-04-23T22:46:45.062" v="11604"/>
          <ac:spMkLst>
            <pc:docMk/>
            <pc:sldMk cId="828009340" sldId="322"/>
            <ac:spMk id="39" creationId="{20E4096D-44C5-3011-4664-F6A94E0DF787}"/>
          </ac:spMkLst>
        </pc:spChg>
        <pc:spChg chg="add del mod modVis">
          <ac:chgData name="Florian Faller" userId="4e496f4204a626e3" providerId="LiveId" clId="{9A21812C-E53D-4018-A66F-CEBBCC2D158E}" dt="2025-04-23T22:46:47.055" v="11640"/>
          <ac:spMkLst>
            <pc:docMk/>
            <pc:sldMk cId="828009340" sldId="322"/>
            <ac:spMk id="40" creationId="{1B9BF735-1BD5-4DB5-464A-77F8AC033666}"/>
          </ac:spMkLst>
        </pc:spChg>
        <pc:spChg chg="add del mod modVis">
          <ac:chgData name="Florian Faller" userId="4e496f4204a626e3" providerId="LiveId" clId="{9A21812C-E53D-4018-A66F-CEBBCC2D158E}" dt="2025-04-23T22:46:49.509" v="11667"/>
          <ac:spMkLst>
            <pc:docMk/>
            <pc:sldMk cId="828009340" sldId="322"/>
            <ac:spMk id="41" creationId="{D70405E1-1B71-4AF5-F71E-BD61B2AC2EC0}"/>
          </ac:spMkLst>
        </pc:spChg>
        <pc:spChg chg="add del mod modVis">
          <ac:chgData name="Florian Faller" userId="4e496f4204a626e3" providerId="LiveId" clId="{9A21812C-E53D-4018-A66F-CEBBCC2D158E}" dt="2025-04-23T22:46:55.203" v="11703"/>
          <ac:spMkLst>
            <pc:docMk/>
            <pc:sldMk cId="828009340" sldId="322"/>
            <ac:spMk id="42" creationId="{DA138A8E-F767-4A47-F813-14F6DEBABD25}"/>
          </ac:spMkLst>
        </pc:spChg>
        <pc:spChg chg="mod">
          <ac:chgData name="Florian Faller" userId="4e496f4204a626e3" providerId="LiveId" clId="{9A21812C-E53D-4018-A66F-CEBBCC2D158E}" dt="2025-04-24T08:48:02.122" v="15269" actId="1076"/>
          <ac:spMkLst>
            <pc:docMk/>
            <pc:sldMk cId="828009340" sldId="322"/>
            <ac:spMk id="43" creationId="{A11D8D52-1623-AFFE-6888-2E1D3E95AD04}"/>
          </ac:spMkLst>
        </pc:spChg>
        <pc:spChg chg="mod">
          <ac:chgData name="Florian Faller" userId="4e496f4204a626e3" providerId="LiveId" clId="{9A21812C-E53D-4018-A66F-CEBBCC2D158E}" dt="2025-04-24T06:35:26.051" v="12151" actId="164"/>
          <ac:spMkLst>
            <pc:docMk/>
            <pc:sldMk cId="828009340" sldId="322"/>
            <ac:spMk id="44" creationId="{6D53D6DF-D0F3-F788-C63A-109A4CE6AF8D}"/>
          </ac:spMkLst>
        </pc:spChg>
        <pc:spChg chg="mod">
          <ac:chgData name="Florian Faller" userId="4e496f4204a626e3" providerId="LiveId" clId="{9A21812C-E53D-4018-A66F-CEBBCC2D158E}" dt="2025-04-24T06:35:26.051" v="12151" actId="164"/>
          <ac:spMkLst>
            <pc:docMk/>
            <pc:sldMk cId="828009340" sldId="322"/>
            <ac:spMk id="45" creationId="{DFB71660-3E08-EDA8-2B26-337F9A26C1B7}"/>
          </ac:spMkLst>
        </pc:spChg>
        <pc:spChg chg="add del mod modVis">
          <ac:chgData name="Florian Faller" userId="4e496f4204a626e3" providerId="LiveId" clId="{9A21812C-E53D-4018-A66F-CEBBCC2D158E}" dt="2025-04-23T22:47:00.907" v="11756"/>
          <ac:spMkLst>
            <pc:docMk/>
            <pc:sldMk cId="828009340" sldId="322"/>
            <ac:spMk id="46" creationId="{66B2D1C2-3E6D-A40F-FF5A-32AB84698D3D}"/>
          </ac:spMkLst>
        </pc:spChg>
        <pc:spChg chg="add del mod modVis">
          <ac:chgData name="Florian Faller" userId="4e496f4204a626e3" providerId="LiveId" clId="{9A21812C-E53D-4018-A66F-CEBBCC2D158E}" dt="2025-04-23T22:47:04.930" v="11784"/>
          <ac:spMkLst>
            <pc:docMk/>
            <pc:sldMk cId="828009340" sldId="322"/>
            <ac:spMk id="48" creationId="{12606ED8-8683-603E-5DE0-20D6655DBD3F}"/>
          </ac:spMkLst>
        </pc:spChg>
        <pc:spChg chg="add del mod modVis">
          <ac:chgData name="Florian Faller" userId="4e496f4204a626e3" providerId="LiveId" clId="{9A21812C-E53D-4018-A66F-CEBBCC2D158E}" dt="2025-04-23T22:47:05.555" v="11811"/>
          <ac:spMkLst>
            <pc:docMk/>
            <pc:sldMk cId="828009340" sldId="322"/>
            <ac:spMk id="50" creationId="{8D0BB71E-97D9-736C-B074-A88ABF957467}"/>
          </ac:spMkLst>
        </pc:spChg>
        <pc:spChg chg="add del mod modVis">
          <ac:chgData name="Florian Faller" userId="4e496f4204a626e3" providerId="LiveId" clId="{9A21812C-E53D-4018-A66F-CEBBCC2D158E}" dt="2025-04-23T22:47:06.104" v="11838"/>
          <ac:spMkLst>
            <pc:docMk/>
            <pc:sldMk cId="828009340" sldId="322"/>
            <ac:spMk id="51" creationId="{58B803B9-7EA1-267B-63C1-B5D267B5BBF5}"/>
          </ac:spMkLst>
        </pc:spChg>
        <pc:spChg chg="add del mod modVis">
          <ac:chgData name="Florian Faller" userId="4e496f4204a626e3" providerId="LiveId" clId="{9A21812C-E53D-4018-A66F-CEBBCC2D158E}" dt="2025-04-23T22:47:08.630" v="11872"/>
          <ac:spMkLst>
            <pc:docMk/>
            <pc:sldMk cId="828009340" sldId="322"/>
            <ac:spMk id="52" creationId="{8F75CDB7-98C1-6B4F-4D3D-91B4AC6AFA66}"/>
          </ac:spMkLst>
        </pc:spChg>
        <pc:spChg chg="add del mod modVis">
          <ac:chgData name="Florian Faller" userId="4e496f4204a626e3" providerId="LiveId" clId="{9A21812C-E53D-4018-A66F-CEBBCC2D158E}" dt="2025-04-23T22:47:09.391" v="11901"/>
          <ac:spMkLst>
            <pc:docMk/>
            <pc:sldMk cId="828009340" sldId="322"/>
            <ac:spMk id="53" creationId="{2F9BDEF2-5DB4-0144-8575-2A6890D276AD}"/>
          </ac:spMkLst>
        </pc:spChg>
        <pc:spChg chg="add del mod modVis">
          <ac:chgData name="Florian Faller" userId="4e496f4204a626e3" providerId="LiveId" clId="{9A21812C-E53D-4018-A66F-CEBBCC2D158E}" dt="2025-04-23T22:47:12.702" v="11928"/>
          <ac:spMkLst>
            <pc:docMk/>
            <pc:sldMk cId="828009340" sldId="322"/>
            <ac:spMk id="54" creationId="{AE954A07-912A-DDE8-7935-113973036856}"/>
          </ac:spMkLst>
        </pc:spChg>
        <pc:spChg chg="add del mod modVis">
          <ac:chgData name="Florian Faller" userId="4e496f4204a626e3" providerId="LiveId" clId="{9A21812C-E53D-4018-A66F-CEBBCC2D158E}" dt="2025-04-23T22:47:14.797" v="11956"/>
          <ac:spMkLst>
            <pc:docMk/>
            <pc:sldMk cId="828009340" sldId="322"/>
            <ac:spMk id="55" creationId="{9EBB8689-F2CE-BAD1-971C-FDE4EAA0BC81}"/>
          </ac:spMkLst>
        </pc:spChg>
        <pc:spChg chg="add del mod modVis">
          <ac:chgData name="Florian Faller" userId="4e496f4204a626e3" providerId="LiveId" clId="{9A21812C-E53D-4018-A66F-CEBBCC2D158E}" dt="2025-04-23T22:47:16.155" v="11985"/>
          <ac:spMkLst>
            <pc:docMk/>
            <pc:sldMk cId="828009340" sldId="322"/>
            <ac:spMk id="56" creationId="{635FC6F0-912C-C497-C610-229760524A3F}"/>
          </ac:spMkLst>
        </pc:spChg>
        <pc:spChg chg="add del mod modVis">
          <ac:chgData name="Florian Faller" userId="4e496f4204a626e3" providerId="LiveId" clId="{9A21812C-E53D-4018-A66F-CEBBCC2D158E}" dt="2025-04-23T22:47:27.305" v="12018"/>
          <ac:spMkLst>
            <pc:docMk/>
            <pc:sldMk cId="828009340" sldId="322"/>
            <ac:spMk id="57" creationId="{0E91E25D-E585-CFBC-A6C1-E0E4B43B568A}"/>
          </ac:spMkLst>
        </pc:spChg>
        <pc:spChg chg="add del mod modVis">
          <ac:chgData name="Florian Faller" userId="4e496f4204a626e3" providerId="LiveId" clId="{9A21812C-E53D-4018-A66F-CEBBCC2D158E}" dt="2025-04-23T22:47:29.047" v="12051"/>
          <ac:spMkLst>
            <pc:docMk/>
            <pc:sldMk cId="828009340" sldId="322"/>
            <ac:spMk id="58" creationId="{DB2475A2-3544-3E4C-7B3D-6C36D336FB48}"/>
          </ac:spMkLst>
        </pc:spChg>
        <pc:grpChg chg="add mod">
          <ac:chgData name="Florian Faller" userId="4e496f4204a626e3" providerId="LiveId" clId="{9A21812C-E53D-4018-A66F-CEBBCC2D158E}" dt="2025-04-24T06:35:28.888" v="12152" actId="164"/>
          <ac:grpSpMkLst>
            <pc:docMk/>
            <pc:sldMk cId="828009340" sldId="322"/>
            <ac:grpSpMk id="61" creationId="{EED8B803-317B-B7A6-25FD-4F299229C1CB}"/>
          </ac:grpSpMkLst>
        </pc:grpChg>
        <pc:grpChg chg="add mod">
          <ac:chgData name="Florian Faller" userId="4e496f4204a626e3" providerId="LiveId" clId="{9A21812C-E53D-4018-A66F-CEBBCC2D158E}" dt="2025-04-24T09:27:58.737" v="16323" actId="164"/>
          <ac:grpSpMkLst>
            <pc:docMk/>
            <pc:sldMk cId="828009340" sldId="322"/>
            <ac:grpSpMk id="62" creationId="{B046214C-6960-F85A-29B7-FF4B2DD6C4A0}"/>
          </ac:grpSpMkLst>
        </pc:grpChg>
        <pc:grpChg chg="add mod">
          <ac:chgData name="Florian Faller" userId="4e496f4204a626e3" providerId="LiveId" clId="{9A21812C-E53D-4018-A66F-CEBBCC2D158E}" dt="2025-04-24T09:27:58.737" v="16323" actId="164"/>
          <ac:grpSpMkLst>
            <pc:docMk/>
            <pc:sldMk cId="828009340" sldId="322"/>
            <ac:grpSpMk id="63" creationId="{26FCA8A9-F1D8-9C56-0B72-2D25B1D4F2F9}"/>
          </ac:grpSpMkLst>
        </pc:grpChg>
        <pc:graphicFrameChg chg="mod">
          <ac:chgData name="Florian Faller" userId="4e496f4204a626e3" providerId="LiveId" clId="{9A21812C-E53D-4018-A66F-CEBBCC2D158E}" dt="2025-04-23T22:47:29.047" v="12053"/>
          <ac:graphicFrameMkLst>
            <pc:docMk/>
            <pc:sldMk cId="828009340" sldId="322"/>
            <ac:graphicFrameMk id="7" creationId="{872A04E0-628F-AE5F-D99F-1E9B51668014}"/>
          </ac:graphicFrameMkLst>
        </pc:graphicFrameChg>
        <pc:picChg chg="add mod">
          <ac:chgData name="Florian Faller" userId="4e496f4204a626e3" providerId="LiveId" clId="{9A21812C-E53D-4018-A66F-CEBBCC2D158E}" dt="2025-04-23T22:49:37.752" v="12078" actId="1037"/>
          <ac:picMkLst>
            <pc:docMk/>
            <pc:sldMk cId="828009340" sldId="322"/>
            <ac:picMk id="9" creationId="{0827AC55-1986-947D-CE70-B0E21C690B20}"/>
          </ac:picMkLst>
        </pc:picChg>
        <pc:picChg chg="add mod">
          <ac:chgData name="Florian Faller" userId="4e496f4204a626e3" providerId="LiveId" clId="{9A21812C-E53D-4018-A66F-CEBBCC2D158E}" dt="2025-04-24T06:35:26.051" v="12151" actId="164"/>
          <ac:picMkLst>
            <pc:docMk/>
            <pc:sldMk cId="828009340" sldId="322"/>
            <ac:picMk id="11" creationId="{BCB95485-E20B-07C8-92DC-A43D54DAA9CE}"/>
          </ac:picMkLst>
        </pc:picChg>
        <pc:picChg chg="add mod">
          <ac:chgData name="Florian Faller" userId="4e496f4204a626e3" providerId="LiveId" clId="{9A21812C-E53D-4018-A66F-CEBBCC2D158E}" dt="2025-04-23T22:49:37.752" v="12078" actId="1037"/>
          <ac:picMkLst>
            <pc:docMk/>
            <pc:sldMk cId="828009340" sldId="322"/>
            <ac:picMk id="13" creationId="{E388EDFE-49A2-899B-637E-593759DF7FD2}"/>
          </ac:picMkLst>
        </pc:picChg>
        <pc:picChg chg="add mod">
          <ac:chgData name="Florian Faller" userId="4e496f4204a626e3" providerId="LiveId" clId="{9A21812C-E53D-4018-A66F-CEBBCC2D158E}" dt="2025-04-23T22:49:37.752" v="12078" actId="1037"/>
          <ac:picMkLst>
            <pc:docMk/>
            <pc:sldMk cId="828009340" sldId="322"/>
            <ac:picMk id="15" creationId="{DCB056FA-7502-478E-590C-675FD17675AC}"/>
          </ac:picMkLst>
        </pc:picChg>
        <pc:picChg chg="del">
          <ac:chgData name="Florian Faller" userId="4e496f4204a626e3" providerId="LiveId" clId="{9A21812C-E53D-4018-A66F-CEBBCC2D158E}" dt="2025-04-24T08:47:45.776" v="15267" actId="478"/>
          <ac:picMkLst>
            <pc:docMk/>
            <pc:sldMk cId="828009340" sldId="322"/>
            <ac:picMk id="16" creationId="{5FE04F1F-F33F-6DD1-A700-28B591E76F7B}"/>
          </ac:picMkLst>
        </pc:picChg>
        <pc:picChg chg="add mod">
          <ac:chgData name="Florian Faller" userId="4e496f4204a626e3" providerId="LiveId" clId="{9A21812C-E53D-4018-A66F-CEBBCC2D158E}" dt="2025-04-23T22:49:37.752" v="12078" actId="1037"/>
          <ac:picMkLst>
            <pc:docMk/>
            <pc:sldMk cId="828009340" sldId="322"/>
            <ac:picMk id="18" creationId="{F95E8373-C239-5740-BA4E-5D39313C6608}"/>
          </ac:picMkLst>
        </pc:picChg>
        <pc:picChg chg="add mod">
          <ac:chgData name="Florian Faller" userId="4e496f4204a626e3" providerId="LiveId" clId="{9A21812C-E53D-4018-A66F-CEBBCC2D158E}" dt="2025-04-23T22:49:37.752" v="12078" actId="1037"/>
          <ac:picMkLst>
            <pc:docMk/>
            <pc:sldMk cId="828009340" sldId="322"/>
            <ac:picMk id="20" creationId="{B8F96719-1E56-47B6-54E3-773B62FB8CDE}"/>
          </ac:picMkLst>
        </pc:picChg>
        <pc:picChg chg="mod">
          <ac:chgData name="Florian Faller" userId="4e496f4204a626e3" providerId="LiveId" clId="{9A21812C-E53D-4018-A66F-CEBBCC2D158E}" dt="2025-04-24T09:27:58.737" v="16323" actId="164"/>
          <ac:picMkLst>
            <pc:docMk/>
            <pc:sldMk cId="828009340" sldId="322"/>
            <ac:picMk id="22" creationId="{1F829493-387F-E588-2F33-0CBC9C46F773}"/>
          </ac:picMkLst>
        </pc:picChg>
        <pc:picChg chg="add mod">
          <ac:chgData name="Florian Faller" userId="4e496f4204a626e3" providerId="LiveId" clId="{9A21812C-E53D-4018-A66F-CEBBCC2D158E}" dt="2025-04-24T06:35:26.051" v="12151" actId="164"/>
          <ac:picMkLst>
            <pc:docMk/>
            <pc:sldMk cId="828009340" sldId="322"/>
            <ac:picMk id="23" creationId="{8DD008C4-BD47-4D6E-A6B8-DC1394925DBE}"/>
          </ac:picMkLst>
        </pc:picChg>
        <pc:picChg chg="mod">
          <ac:chgData name="Florian Faller" userId="4e496f4204a626e3" providerId="LiveId" clId="{9A21812C-E53D-4018-A66F-CEBBCC2D158E}" dt="2025-04-24T09:27:58.737" v="16323" actId="164"/>
          <ac:picMkLst>
            <pc:docMk/>
            <pc:sldMk cId="828009340" sldId="322"/>
            <ac:picMk id="24" creationId="{17051503-8283-7A94-35F6-B52031AAA02D}"/>
          </ac:picMkLst>
        </pc:picChg>
        <pc:picChg chg="del">
          <ac:chgData name="Florian Faller" userId="4e496f4204a626e3" providerId="LiveId" clId="{9A21812C-E53D-4018-A66F-CEBBCC2D158E}" dt="2025-04-23T22:44:17.248" v="11232" actId="478"/>
          <ac:picMkLst>
            <pc:docMk/>
            <pc:sldMk cId="828009340" sldId="322"/>
            <ac:picMk id="38" creationId="{C5903546-09FD-E8F2-CEB6-F400229E0460}"/>
          </ac:picMkLst>
        </pc:picChg>
        <pc:picChg chg="del">
          <ac:chgData name="Florian Faller" userId="4e496f4204a626e3" providerId="LiveId" clId="{9A21812C-E53D-4018-A66F-CEBBCC2D158E}" dt="2025-04-23T22:44:17.248" v="11232" actId="478"/>
          <ac:picMkLst>
            <pc:docMk/>
            <pc:sldMk cId="828009340" sldId="322"/>
            <ac:picMk id="47" creationId="{B8E1756B-1C34-6999-139E-14B7EB30D9D1}"/>
          </ac:picMkLst>
        </pc:picChg>
        <pc:picChg chg="del">
          <ac:chgData name="Florian Faller" userId="4e496f4204a626e3" providerId="LiveId" clId="{9A21812C-E53D-4018-A66F-CEBBCC2D158E}" dt="2025-04-23T22:44:17.248" v="11232" actId="478"/>
          <ac:picMkLst>
            <pc:docMk/>
            <pc:sldMk cId="828009340" sldId="322"/>
            <ac:picMk id="49" creationId="{726F5E6B-B119-7EB9-0F07-5E9D1EAF41D2}"/>
          </ac:picMkLst>
        </pc:picChg>
        <pc:picChg chg="add mod">
          <ac:chgData name="Florian Faller" userId="4e496f4204a626e3" providerId="LiveId" clId="{9A21812C-E53D-4018-A66F-CEBBCC2D158E}" dt="2025-04-24T08:48:02.122" v="15269" actId="1076"/>
          <ac:picMkLst>
            <pc:docMk/>
            <pc:sldMk cId="828009340" sldId="322"/>
            <ac:picMk id="60" creationId="{34C057FF-D9D9-3623-6796-1DB674E1AEB4}"/>
          </ac:picMkLst>
        </pc:picChg>
        <pc:picChg chg="mod">
          <ac:chgData name="Florian Faller" userId="4e496f4204a626e3" providerId="LiveId" clId="{9A21812C-E53D-4018-A66F-CEBBCC2D158E}" dt="2025-04-24T09:27:58.737" v="16323" actId="164"/>
          <ac:picMkLst>
            <pc:docMk/>
            <pc:sldMk cId="828009340" sldId="322"/>
            <ac:picMk id="4102" creationId="{7310C8F5-8377-6D28-8F42-71FD9388D215}"/>
          </ac:picMkLst>
        </pc:picChg>
        <pc:picChg chg="mod">
          <ac:chgData name="Florian Faller" userId="4e496f4204a626e3" providerId="LiveId" clId="{9A21812C-E53D-4018-A66F-CEBBCC2D158E}" dt="2025-04-24T09:27:58.737" v="16323" actId="164"/>
          <ac:picMkLst>
            <pc:docMk/>
            <pc:sldMk cId="828009340" sldId="322"/>
            <ac:picMk id="4104" creationId="{11523D7B-E2C9-FDAD-C80C-69130C430B82}"/>
          </ac:picMkLst>
        </pc:picChg>
      </pc:sldChg>
      <pc:sldChg chg="new del">
        <pc:chgData name="Florian Faller" userId="4e496f4204a626e3" providerId="LiveId" clId="{9A21812C-E53D-4018-A66F-CEBBCC2D158E}" dt="2025-04-23T20:37:37.576" v="9347" actId="47"/>
        <pc:sldMkLst>
          <pc:docMk/>
          <pc:sldMk cId="395642891" sldId="323"/>
        </pc:sldMkLst>
      </pc:sldChg>
      <pc:sldChg chg="del mod ord modShow">
        <pc:chgData name="Florian Faller" userId="4e496f4204a626e3" providerId="LiveId" clId="{9A21812C-E53D-4018-A66F-CEBBCC2D158E}" dt="2025-04-24T09:49:14.149" v="16454" actId="47"/>
        <pc:sldMkLst>
          <pc:docMk/>
          <pc:sldMk cId="2719014420" sldId="323"/>
        </pc:sldMkLst>
      </pc:sldChg>
      <pc:sldChg chg="addSp modSp new del mod">
        <pc:chgData name="Florian Faller" userId="4e496f4204a626e3" providerId="LiveId" clId="{9A21812C-E53D-4018-A66F-CEBBCC2D158E}" dt="2025-04-23T20:37:58.919" v="9352" actId="47"/>
        <pc:sldMkLst>
          <pc:docMk/>
          <pc:sldMk cId="3053081793" sldId="324"/>
        </pc:sldMkLst>
        <pc:spChg chg="add mod">
          <ac:chgData name="Florian Faller" userId="4e496f4204a626e3" providerId="LiveId" clId="{9A21812C-E53D-4018-A66F-CEBBCC2D158E}" dt="2025-04-23T20:37:50.225" v="9351" actId="27636"/>
          <ac:spMkLst>
            <pc:docMk/>
            <pc:sldMk cId="3053081793" sldId="324"/>
            <ac:spMk id="5" creationId="{ACC40A8D-BBA6-E67C-0754-54C81EF7E88B}"/>
          </ac:spMkLst>
        </pc:spChg>
        <pc:spChg chg="add mod">
          <ac:chgData name="Florian Faller" userId="4e496f4204a626e3" providerId="LiveId" clId="{9A21812C-E53D-4018-A66F-CEBBCC2D158E}" dt="2025-04-23T20:37:44.497" v="9349" actId="207"/>
          <ac:spMkLst>
            <pc:docMk/>
            <pc:sldMk cId="3053081793" sldId="324"/>
            <ac:spMk id="6" creationId="{5FF1B9C4-BB9A-5062-F7A1-81ACDE94AB97}"/>
          </ac:spMkLst>
        </pc:spChg>
        <pc:spChg chg="add mod">
          <ac:chgData name="Florian Faller" userId="4e496f4204a626e3" providerId="LiveId" clId="{9A21812C-E53D-4018-A66F-CEBBCC2D158E}" dt="2025-04-23T20:37:44.497" v="9349" actId="207"/>
          <ac:spMkLst>
            <pc:docMk/>
            <pc:sldMk cId="3053081793" sldId="324"/>
            <ac:spMk id="7" creationId="{385643BF-3614-AED9-0E81-B038A33F4EFD}"/>
          </ac:spMkLst>
        </pc:spChg>
      </pc:sldChg>
      <pc:sldChg chg="addSp modSp add del mod">
        <pc:chgData name="Florian Faller" userId="4e496f4204a626e3" providerId="LiveId" clId="{9A21812C-E53D-4018-A66F-CEBBCC2D158E}" dt="2025-04-24T07:08:40.924" v="12478" actId="47"/>
        <pc:sldMkLst>
          <pc:docMk/>
          <pc:sldMk cId="3412719959" sldId="324"/>
        </pc:sldMkLst>
        <pc:spChg chg="add mod">
          <ac:chgData name="Florian Faller" userId="4e496f4204a626e3" providerId="LiveId" clId="{9A21812C-E53D-4018-A66F-CEBBCC2D158E}" dt="2025-04-24T06:44:06.148" v="12335" actId="1076"/>
          <ac:spMkLst>
            <pc:docMk/>
            <pc:sldMk cId="3412719959" sldId="324"/>
            <ac:spMk id="6" creationId="{A1B09440-75BB-1FD5-54BA-86D8D1F13727}"/>
          </ac:spMkLst>
        </pc:spChg>
        <pc:spChg chg="add mod">
          <ac:chgData name="Florian Faller" userId="4e496f4204a626e3" providerId="LiveId" clId="{9A21812C-E53D-4018-A66F-CEBBCC2D158E}" dt="2025-04-24T06:44:09.517" v="12336" actId="1076"/>
          <ac:spMkLst>
            <pc:docMk/>
            <pc:sldMk cId="3412719959" sldId="324"/>
            <ac:spMk id="8" creationId="{CF4063F6-5F39-4D8E-A808-209CB9EAE7CF}"/>
          </ac:spMkLst>
        </pc:spChg>
        <pc:spChg chg="mod">
          <ac:chgData name="Florian Faller" userId="4e496f4204a626e3" providerId="LiveId" clId="{9A21812C-E53D-4018-A66F-CEBBCC2D158E}" dt="2025-04-24T06:39:41.782" v="12198" actId="1076"/>
          <ac:spMkLst>
            <pc:docMk/>
            <pc:sldMk cId="3412719959" sldId="324"/>
            <ac:spMk id="10" creationId="{4946188A-60DD-DB48-DDDF-54D56CC713B6}"/>
          </ac:spMkLst>
        </pc:spChg>
        <pc:spChg chg="add mod">
          <ac:chgData name="Florian Faller" userId="4e496f4204a626e3" providerId="LiveId" clId="{9A21812C-E53D-4018-A66F-CEBBCC2D158E}" dt="2025-04-24T06:44:57.209" v="12338" actId="1076"/>
          <ac:spMkLst>
            <pc:docMk/>
            <pc:sldMk cId="3412719959" sldId="324"/>
            <ac:spMk id="11" creationId="{DC2CE310-9AEB-4599-AD60-C7B9F7F0A83C}"/>
          </ac:spMkLst>
        </pc:spChg>
        <pc:spChg chg="add mod">
          <ac:chgData name="Florian Faller" userId="4e496f4204a626e3" providerId="LiveId" clId="{9A21812C-E53D-4018-A66F-CEBBCC2D158E}" dt="2025-04-24T06:46:07.919" v="12352" actId="20577"/>
          <ac:spMkLst>
            <pc:docMk/>
            <pc:sldMk cId="3412719959" sldId="324"/>
            <ac:spMk id="12" creationId="{FDDFF655-6891-CA32-FEBC-3835C633771D}"/>
          </ac:spMkLst>
        </pc:spChg>
        <pc:spChg chg="mod">
          <ac:chgData name="Florian Faller" userId="4e496f4204a626e3" providerId="LiveId" clId="{9A21812C-E53D-4018-A66F-CEBBCC2D158E}" dt="2025-04-24T06:41:24.848" v="12208" actId="1076"/>
          <ac:spMkLst>
            <pc:docMk/>
            <pc:sldMk cId="3412719959" sldId="324"/>
            <ac:spMk id="24" creationId="{4D251FE1-131C-F089-D92A-D2E875AF0101}"/>
          </ac:spMkLst>
        </pc:spChg>
        <pc:spChg chg="mod">
          <ac:chgData name="Florian Faller" userId="4e496f4204a626e3" providerId="LiveId" clId="{9A21812C-E53D-4018-A66F-CEBBCC2D158E}" dt="2025-04-24T06:41:24.848" v="12208" actId="1076"/>
          <ac:spMkLst>
            <pc:docMk/>
            <pc:sldMk cId="3412719959" sldId="324"/>
            <ac:spMk id="25" creationId="{6B6018EE-3398-C2C1-3B78-7E3AE11CF173}"/>
          </ac:spMkLst>
        </pc:spChg>
        <pc:spChg chg="mod">
          <ac:chgData name="Florian Faller" userId="4e496f4204a626e3" providerId="LiveId" clId="{9A21812C-E53D-4018-A66F-CEBBCC2D158E}" dt="2025-04-24T06:41:30.780" v="12209" actId="1076"/>
          <ac:spMkLst>
            <pc:docMk/>
            <pc:sldMk cId="3412719959" sldId="324"/>
            <ac:spMk id="30" creationId="{711DEDE6-FCE0-E83C-8A4A-6CC780328B14}"/>
          </ac:spMkLst>
        </pc:spChg>
        <pc:spChg chg="mod">
          <ac:chgData name="Florian Faller" userId="4e496f4204a626e3" providerId="LiveId" clId="{9A21812C-E53D-4018-A66F-CEBBCC2D158E}" dt="2025-04-24T06:41:30.780" v="12209" actId="1076"/>
          <ac:spMkLst>
            <pc:docMk/>
            <pc:sldMk cId="3412719959" sldId="324"/>
            <ac:spMk id="31" creationId="{0BBD6557-3046-5752-2050-D2B5FF1D763A}"/>
          </ac:spMkLst>
        </pc:spChg>
        <pc:spChg chg="mod">
          <ac:chgData name="Florian Faller" userId="4e496f4204a626e3" providerId="LiveId" clId="{9A21812C-E53D-4018-A66F-CEBBCC2D158E}" dt="2025-04-24T06:42:18.979" v="12211" actId="1076"/>
          <ac:spMkLst>
            <pc:docMk/>
            <pc:sldMk cId="3412719959" sldId="324"/>
            <ac:spMk id="33" creationId="{786D7AE1-A36C-670B-9DF7-DA6B37748723}"/>
          </ac:spMkLst>
        </pc:spChg>
        <pc:spChg chg="mod">
          <ac:chgData name="Florian Faller" userId="4e496f4204a626e3" providerId="LiveId" clId="{9A21812C-E53D-4018-A66F-CEBBCC2D158E}" dt="2025-04-24T06:42:18.979" v="12211" actId="1076"/>
          <ac:spMkLst>
            <pc:docMk/>
            <pc:sldMk cId="3412719959" sldId="324"/>
            <ac:spMk id="34" creationId="{85A26447-C31C-5BE6-CBF2-3B3DA11346C1}"/>
          </ac:spMkLst>
        </pc:spChg>
        <pc:spChg chg="mod">
          <ac:chgData name="Florian Faller" userId="4e496f4204a626e3" providerId="LiveId" clId="{9A21812C-E53D-4018-A66F-CEBBCC2D158E}" dt="2025-04-24T06:41:00.319" v="12206" actId="1076"/>
          <ac:spMkLst>
            <pc:docMk/>
            <pc:sldMk cId="3412719959" sldId="324"/>
            <ac:spMk id="35" creationId="{D646E546-1C76-2D4F-BA99-D67A8EB32811}"/>
          </ac:spMkLst>
        </pc:spChg>
        <pc:spChg chg="mod">
          <ac:chgData name="Florian Faller" userId="4e496f4204a626e3" providerId="LiveId" clId="{9A21812C-E53D-4018-A66F-CEBBCC2D158E}" dt="2025-04-24T06:41:00.319" v="12206" actId="1076"/>
          <ac:spMkLst>
            <pc:docMk/>
            <pc:sldMk cId="3412719959" sldId="324"/>
            <ac:spMk id="36" creationId="{17063A48-5C98-A23C-64E7-9FD1CBC7AED5}"/>
          </ac:spMkLst>
        </pc:spChg>
        <pc:spChg chg="mod">
          <ac:chgData name="Florian Faller" userId="4e496f4204a626e3" providerId="LiveId" clId="{9A21812C-E53D-4018-A66F-CEBBCC2D158E}" dt="2025-04-24T06:42:08.007" v="12210" actId="1076"/>
          <ac:spMkLst>
            <pc:docMk/>
            <pc:sldMk cId="3412719959" sldId="324"/>
            <ac:spMk id="37" creationId="{B0D6943B-EA78-0EFF-49D4-B251A3582FB4}"/>
          </ac:spMkLst>
        </pc:spChg>
        <pc:spChg chg="mod">
          <ac:chgData name="Florian Faller" userId="4e496f4204a626e3" providerId="LiveId" clId="{9A21812C-E53D-4018-A66F-CEBBCC2D158E}" dt="2025-04-24T06:42:08.007" v="12210" actId="1076"/>
          <ac:spMkLst>
            <pc:docMk/>
            <pc:sldMk cId="3412719959" sldId="324"/>
            <ac:spMk id="38" creationId="{D01D8C90-8668-074E-A836-0CD078FF6E79}"/>
          </ac:spMkLst>
        </pc:spChg>
        <pc:picChg chg="mod">
          <ac:chgData name="Florian Faller" userId="4e496f4204a626e3" providerId="LiveId" clId="{9A21812C-E53D-4018-A66F-CEBBCC2D158E}" dt="2025-04-24T06:42:08.007" v="12210" actId="1076"/>
          <ac:picMkLst>
            <pc:docMk/>
            <pc:sldMk cId="3412719959" sldId="324"/>
            <ac:picMk id="7" creationId="{7BE06FFE-F30D-E2FA-FC0C-EF0429D03A2A}"/>
          </ac:picMkLst>
        </pc:picChg>
        <pc:picChg chg="mod">
          <ac:chgData name="Florian Faller" userId="4e496f4204a626e3" providerId="LiveId" clId="{9A21812C-E53D-4018-A66F-CEBBCC2D158E}" dt="2025-04-24T06:42:18.979" v="12211" actId="1076"/>
          <ac:picMkLst>
            <pc:docMk/>
            <pc:sldMk cId="3412719959" sldId="324"/>
            <ac:picMk id="9" creationId="{CC7F24B3-DC30-4103-0731-BEC0AECA8054}"/>
          </ac:picMkLst>
        </pc:picChg>
        <pc:picChg chg="mod">
          <ac:chgData name="Florian Faller" userId="4e496f4204a626e3" providerId="LiveId" clId="{9A21812C-E53D-4018-A66F-CEBBCC2D158E}" dt="2025-04-24T06:40:28.861" v="12202" actId="1076"/>
          <ac:picMkLst>
            <pc:docMk/>
            <pc:sldMk cId="3412719959" sldId="324"/>
            <ac:picMk id="1028" creationId="{9EE89704-D32A-BD1A-C2F6-AFB1CBAC6935}"/>
          </ac:picMkLst>
        </pc:picChg>
        <pc:picChg chg="mod">
          <ac:chgData name="Florian Faller" userId="4e496f4204a626e3" providerId="LiveId" clId="{9A21812C-E53D-4018-A66F-CEBBCC2D158E}" dt="2025-04-24T06:41:30.780" v="12209" actId="1076"/>
          <ac:picMkLst>
            <pc:docMk/>
            <pc:sldMk cId="3412719959" sldId="324"/>
            <ac:picMk id="1030" creationId="{333D36EE-9F77-AD70-D89E-0E368E6D2A7A}"/>
          </ac:picMkLst>
        </pc:picChg>
        <pc:picChg chg="mod">
          <ac:chgData name="Florian Faller" userId="4e496f4204a626e3" providerId="LiveId" clId="{9A21812C-E53D-4018-A66F-CEBBCC2D158E}" dt="2025-04-24T06:41:24.848" v="12208" actId="1076"/>
          <ac:picMkLst>
            <pc:docMk/>
            <pc:sldMk cId="3412719959" sldId="324"/>
            <ac:picMk id="1032" creationId="{DB8D87FB-ABBE-22C8-EC3C-0E78A5F90D29}"/>
          </ac:picMkLst>
        </pc:picChg>
      </pc:sldChg>
      <pc:sldChg chg="addSp delSp modSp add mod">
        <pc:chgData name="Florian Faller" userId="4e496f4204a626e3" providerId="LiveId" clId="{9A21812C-E53D-4018-A66F-CEBBCC2D158E}" dt="2025-04-24T07:08:24.969" v="12477" actId="20577"/>
        <pc:sldMkLst>
          <pc:docMk/>
          <pc:sldMk cId="834671015" sldId="325"/>
        </pc:sldMkLst>
        <pc:spChg chg="mod">
          <ac:chgData name="Florian Faller" userId="4e496f4204a626e3" providerId="LiveId" clId="{9A21812C-E53D-4018-A66F-CEBBCC2D158E}" dt="2025-04-24T06:47:46.481" v="12376" actId="1076"/>
          <ac:spMkLst>
            <pc:docMk/>
            <pc:sldMk cId="834671015" sldId="325"/>
            <ac:spMk id="6" creationId="{F8D7ECAE-F6D1-A78A-DAB5-4CA299348A5C}"/>
          </ac:spMkLst>
        </pc:spChg>
        <pc:spChg chg="mod">
          <ac:chgData name="Florian Faller" userId="4e496f4204a626e3" providerId="LiveId" clId="{9A21812C-E53D-4018-A66F-CEBBCC2D158E}" dt="2025-04-24T06:47:46.481" v="12376" actId="1076"/>
          <ac:spMkLst>
            <pc:docMk/>
            <pc:sldMk cId="834671015" sldId="325"/>
            <ac:spMk id="8" creationId="{348F0EE3-7D75-E7DD-B5D6-E944AD1D2C6D}"/>
          </ac:spMkLst>
        </pc:spChg>
        <pc:spChg chg="mod">
          <ac:chgData name="Florian Faller" userId="4e496f4204a626e3" providerId="LiveId" clId="{9A21812C-E53D-4018-A66F-CEBBCC2D158E}" dt="2025-04-24T07:07:01.288" v="12422" actId="6549"/>
          <ac:spMkLst>
            <pc:docMk/>
            <pc:sldMk cId="834671015" sldId="325"/>
            <ac:spMk id="10" creationId="{1CB2B7EE-BC15-FA07-A6F9-DC6EB1238604}"/>
          </ac:spMkLst>
        </pc:spChg>
        <pc:spChg chg="mod">
          <ac:chgData name="Florian Faller" userId="4e496f4204a626e3" providerId="LiveId" clId="{9A21812C-E53D-4018-A66F-CEBBCC2D158E}" dt="2025-04-24T06:48:13.242" v="12392" actId="1076"/>
          <ac:spMkLst>
            <pc:docMk/>
            <pc:sldMk cId="834671015" sldId="325"/>
            <ac:spMk id="11" creationId="{E5A49700-AD39-E352-4B66-0AC63E09813F}"/>
          </ac:spMkLst>
        </pc:spChg>
        <pc:spChg chg="mod">
          <ac:chgData name="Florian Faller" userId="4e496f4204a626e3" providerId="LiveId" clId="{9A21812C-E53D-4018-A66F-CEBBCC2D158E}" dt="2025-04-24T06:47:46.481" v="12376" actId="1076"/>
          <ac:spMkLst>
            <pc:docMk/>
            <pc:sldMk cId="834671015" sldId="325"/>
            <ac:spMk id="12" creationId="{A7AE65BC-0F6C-4495-2B15-5995F464F901}"/>
          </ac:spMkLst>
        </pc:spChg>
        <pc:spChg chg="add del mod">
          <ac:chgData name="Florian Faller" userId="4e496f4204a626e3" providerId="LiveId" clId="{9A21812C-E53D-4018-A66F-CEBBCC2D158E}" dt="2025-04-24T06:48:22.930" v="12394" actId="478"/>
          <ac:spMkLst>
            <pc:docMk/>
            <pc:sldMk cId="834671015" sldId="325"/>
            <ac:spMk id="13" creationId="{FA2CB7E7-1740-1AF9-4E48-C80AB83E5A2A}"/>
          </ac:spMkLst>
        </pc:spChg>
        <pc:spChg chg="add mod">
          <ac:chgData name="Florian Faller" userId="4e496f4204a626e3" providerId="LiveId" clId="{9A21812C-E53D-4018-A66F-CEBBCC2D158E}" dt="2025-04-24T07:07:18.009" v="12424" actId="207"/>
          <ac:spMkLst>
            <pc:docMk/>
            <pc:sldMk cId="834671015" sldId="325"/>
            <ac:spMk id="14" creationId="{5B33B6D0-DF80-133B-294C-7FAD96451618}"/>
          </ac:spMkLst>
        </pc:spChg>
        <pc:spChg chg="add mod">
          <ac:chgData name="Florian Faller" userId="4e496f4204a626e3" providerId="LiveId" clId="{9A21812C-E53D-4018-A66F-CEBBCC2D158E}" dt="2025-04-24T07:07:18.009" v="12424" actId="207"/>
          <ac:spMkLst>
            <pc:docMk/>
            <pc:sldMk cId="834671015" sldId="325"/>
            <ac:spMk id="15" creationId="{B6FAFE1C-1B06-EC53-3099-92307CBA027D}"/>
          </ac:spMkLst>
        </pc:spChg>
        <pc:spChg chg="add mod">
          <ac:chgData name="Florian Faller" userId="4e496f4204a626e3" providerId="LiveId" clId="{9A21812C-E53D-4018-A66F-CEBBCC2D158E}" dt="2025-04-24T07:07:18.009" v="12424" actId="207"/>
          <ac:spMkLst>
            <pc:docMk/>
            <pc:sldMk cId="834671015" sldId="325"/>
            <ac:spMk id="16" creationId="{0F2BE5E7-D97D-D123-815D-2C9C13D6E2F0}"/>
          </ac:spMkLst>
        </pc:spChg>
        <pc:spChg chg="add mod">
          <ac:chgData name="Florian Faller" userId="4e496f4204a626e3" providerId="LiveId" clId="{9A21812C-E53D-4018-A66F-CEBBCC2D158E}" dt="2025-04-24T07:07:30.173" v="12429" actId="5793"/>
          <ac:spMkLst>
            <pc:docMk/>
            <pc:sldMk cId="834671015" sldId="325"/>
            <ac:spMk id="17" creationId="{090D43CD-28E7-83CC-C3C6-333C899DEAD8}"/>
          </ac:spMkLst>
        </pc:spChg>
        <pc:spChg chg="add mod">
          <ac:chgData name="Florian Faller" userId="4e496f4204a626e3" providerId="LiveId" clId="{9A21812C-E53D-4018-A66F-CEBBCC2D158E}" dt="2025-04-24T07:07:41.398" v="12439" actId="1076"/>
          <ac:spMkLst>
            <pc:docMk/>
            <pc:sldMk cId="834671015" sldId="325"/>
            <ac:spMk id="18" creationId="{E76FE97A-4188-0F58-13ED-E29B380706EC}"/>
          </ac:spMkLst>
        </pc:spChg>
        <pc:spChg chg="mod">
          <ac:chgData name="Florian Faller" userId="4e496f4204a626e3" providerId="LiveId" clId="{9A21812C-E53D-4018-A66F-CEBBCC2D158E}" dt="2025-04-24T06:47:59.136" v="12390" actId="1036"/>
          <ac:spMkLst>
            <pc:docMk/>
            <pc:sldMk cId="834671015" sldId="325"/>
            <ac:spMk id="24" creationId="{88211111-EDDF-BB55-C385-A23587F6D45A}"/>
          </ac:spMkLst>
        </pc:spChg>
        <pc:spChg chg="mod">
          <ac:chgData name="Florian Faller" userId="4e496f4204a626e3" providerId="LiveId" clId="{9A21812C-E53D-4018-A66F-CEBBCC2D158E}" dt="2025-04-24T06:47:59.136" v="12390" actId="1036"/>
          <ac:spMkLst>
            <pc:docMk/>
            <pc:sldMk cId="834671015" sldId="325"/>
            <ac:spMk id="25" creationId="{30E0F117-6384-8B2B-57E8-7DB17DF444F1}"/>
          </ac:spMkLst>
        </pc:spChg>
        <pc:spChg chg="mod">
          <ac:chgData name="Florian Faller" userId="4e496f4204a626e3" providerId="LiveId" clId="{9A21812C-E53D-4018-A66F-CEBBCC2D158E}" dt="2025-04-24T06:48:07.529" v="12391" actId="1076"/>
          <ac:spMkLst>
            <pc:docMk/>
            <pc:sldMk cId="834671015" sldId="325"/>
            <ac:spMk id="30" creationId="{08D82CE4-0199-9E02-BF93-2D4311A67C12}"/>
          </ac:spMkLst>
        </pc:spChg>
        <pc:spChg chg="mod">
          <ac:chgData name="Florian Faller" userId="4e496f4204a626e3" providerId="LiveId" clId="{9A21812C-E53D-4018-A66F-CEBBCC2D158E}" dt="2025-04-24T07:08:24.969" v="12477" actId="20577"/>
          <ac:spMkLst>
            <pc:docMk/>
            <pc:sldMk cId="834671015" sldId="325"/>
            <ac:spMk id="31" creationId="{A318FB17-9D46-5647-2CA0-93BDDF7C1ECA}"/>
          </ac:spMkLst>
        </pc:spChg>
        <pc:spChg chg="mod">
          <ac:chgData name="Florian Faller" userId="4e496f4204a626e3" providerId="LiveId" clId="{9A21812C-E53D-4018-A66F-CEBBCC2D158E}" dt="2025-04-24T06:47:59.136" v="12390" actId="1036"/>
          <ac:spMkLst>
            <pc:docMk/>
            <pc:sldMk cId="834671015" sldId="325"/>
            <ac:spMk id="33" creationId="{1D890ACF-8F84-7EA7-F6DA-CA9E715C22D1}"/>
          </ac:spMkLst>
        </pc:spChg>
        <pc:spChg chg="mod">
          <ac:chgData name="Florian Faller" userId="4e496f4204a626e3" providerId="LiveId" clId="{9A21812C-E53D-4018-A66F-CEBBCC2D158E}" dt="2025-04-24T06:47:59.136" v="12390" actId="1036"/>
          <ac:spMkLst>
            <pc:docMk/>
            <pc:sldMk cId="834671015" sldId="325"/>
            <ac:spMk id="34" creationId="{58A11E48-B3E1-22B3-7766-90242EC98807}"/>
          </ac:spMkLst>
        </pc:spChg>
        <pc:spChg chg="mod">
          <ac:chgData name="Florian Faller" userId="4e496f4204a626e3" providerId="LiveId" clId="{9A21812C-E53D-4018-A66F-CEBBCC2D158E}" dt="2025-04-24T06:47:02.336" v="12362" actId="1076"/>
          <ac:spMkLst>
            <pc:docMk/>
            <pc:sldMk cId="834671015" sldId="325"/>
            <ac:spMk id="35" creationId="{DB779869-D8F4-9614-A944-0227466F045D}"/>
          </ac:spMkLst>
        </pc:spChg>
        <pc:spChg chg="mod">
          <ac:chgData name="Florian Faller" userId="4e496f4204a626e3" providerId="LiveId" clId="{9A21812C-E53D-4018-A66F-CEBBCC2D158E}" dt="2025-04-24T06:47:02.336" v="12362" actId="1076"/>
          <ac:spMkLst>
            <pc:docMk/>
            <pc:sldMk cId="834671015" sldId="325"/>
            <ac:spMk id="36" creationId="{BD0F7B9C-0D79-019A-44D2-050D811F53D5}"/>
          </ac:spMkLst>
        </pc:spChg>
        <pc:spChg chg="mod">
          <ac:chgData name="Florian Faller" userId="4e496f4204a626e3" providerId="LiveId" clId="{9A21812C-E53D-4018-A66F-CEBBCC2D158E}" dt="2025-04-24T06:47:02.336" v="12362" actId="1076"/>
          <ac:spMkLst>
            <pc:docMk/>
            <pc:sldMk cId="834671015" sldId="325"/>
            <ac:spMk id="37" creationId="{7F9CAFE2-F390-AAB0-2E49-2630B9499AE9}"/>
          </ac:spMkLst>
        </pc:spChg>
        <pc:spChg chg="mod">
          <ac:chgData name="Florian Faller" userId="4e496f4204a626e3" providerId="LiveId" clId="{9A21812C-E53D-4018-A66F-CEBBCC2D158E}" dt="2025-04-24T06:47:02.336" v="12362" actId="1076"/>
          <ac:spMkLst>
            <pc:docMk/>
            <pc:sldMk cId="834671015" sldId="325"/>
            <ac:spMk id="38" creationId="{EE7D1C0E-32C2-4A99-56D4-FA38AA84DEB5}"/>
          </ac:spMkLst>
        </pc:spChg>
        <pc:picChg chg="mod">
          <ac:chgData name="Florian Faller" userId="4e496f4204a626e3" providerId="LiveId" clId="{9A21812C-E53D-4018-A66F-CEBBCC2D158E}" dt="2025-04-24T06:47:52.867" v="12377" actId="14100"/>
          <ac:picMkLst>
            <pc:docMk/>
            <pc:sldMk cId="834671015" sldId="325"/>
            <ac:picMk id="7" creationId="{3CF97ACD-5225-CE5D-4675-E1377D725E69}"/>
          </ac:picMkLst>
        </pc:picChg>
        <pc:picChg chg="mod">
          <ac:chgData name="Florian Faller" userId="4e496f4204a626e3" providerId="LiveId" clId="{9A21812C-E53D-4018-A66F-CEBBCC2D158E}" dt="2025-04-24T06:47:59.136" v="12390" actId="1036"/>
          <ac:picMkLst>
            <pc:docMk/>
            <pc:sldMk cId="834671015" sldId="325"/>
            <ac:picMk id="9" creationId="{F1722E9D-F433-48A4-A230-2C521A70024B}"/>
          </ac:picMkLst>
        </pc:picChg>
        <pc:picChg chg="mod">
          <ac:chgData name="Florian Faller" userId="4e496f4204a626e3" providerId="LiveId" clId="{9A21812C-E53D-4018-A66F-CEBBCC2D158E}" dt="2025-04-24T06:47:52.867" v="12377" actId="14100"/>
          <ac:picMkLst>
            <pc:docMk/>
            <pc:sldMk cId="834671015" sldId="325"/>
            <ac:picMk id="1028" creationId="{82EE9F07-A2F4-7C17-2019-A86E027E2D75}"/>
          </ac:picMkLst>
        </pc:picChg>
        <pc:picChg chg="mod">
          <ac:chgData name="Florian Faller" userId="4e496f4204a626e3" providerId="LiveId" clId="{9A21812C-E53D-4018-A66F-CEBBCC2D158E}" dt="2025-04-24T06:48:07.529" v="12391" actId="1076"/>
          <ac:picMkLst>
            <pc:docMk/>
            <pc:sldMk cId="834671015" sldId="325"/>
            <ac:picMk id="1030" creationId="{45602B89-9EA3-6530-CE4E-4DC7E478BF18}"/>
          </ac:picMkLst>
        </pc:picChg>
        <pc:picChg chg="mod">
          <ac:chgData name="Florian Faller" userId="4e496f4204a626e3" providerId="LiveId" clId="{9A21812C-E53D-4018-A66F-CEBBCC2D158E}" dt="2025-04-24T06:47:59.136" v="12390" actId="1036"/>
          <ac:picMkLst>
            <pc:docMk/>
            <pc:sldMk cId="834671015" sldId="325"/>
            <ac:picMk id="1032" creationId="{D21C81B2-00D7-4BC9-9F64-E58BB8E56954}"/>
          </ac:picMkLst>
        </pc:picChg>
      </pc:sldChg>
      <pc:sldChg chg="addSp modSp mod modAnim">
        <pc:chgData name="Florian Faller" userId="4e496f4204a626e3" providerId="LiveId" clId="{9A21812C-E53D-4018-A66F-CEBBCC2D158E}" dt="2025-04-24T08:30:07.294" v="14941"/>
        <pc:sldMkLst>
          <pc:docMk/>
          <pc:sldMk cId="3024128567" sldId="326"/>
        </pc:sldMkLst>
        <pc:spChg chg="add mod">
          <ac:chgData name="Florian Faller" userId="4e496f4204a626e3" providerId="LiveId" clId="{9A21812C-E53D-4018-A66F-CEBBCC2D158E}" dt="2025-04-24T08:29:46.658" v="14937" actId="164"/>
          <ac:spMkLst>
            <pc:docMk/>
            <pc:sldMk cId="3024128567" sldId="326"/>
            <ac:spMk id="2" creationId="{DD491CE9-FBFE-179A-4009-D2EF67FB6E29}"/>
          </ac:spMkLst>
        </pc:spChg>
        <pc:spChg chg="add mod">
          <ac:chgData name="Florian Faller" userId="4e496f4204a626e3" providerId="LiveId" clId="{9A21812C-E53D-4018-A66F-CEBBCC2D158E}" dt="2025-04-24T08:29:46.658" v="14937" actId="164"/>
          <ac:spMkLst>
            <pc:docMk/>
            <pc:sldMk cId="3024128567" sldId="326"/>
            <ac:spMk id="3" creationId="{C254332D-116C-1FA0-1892-4235F01D6C91}"/>
          </ac:spMkLst>
        </pc:spChg>
        <pc:spChg chg="add mod">
          <ac:chgData name="Florian Faller" userId="4e496f4204a626e3" providerId="LiveId" clId="{9A21812C-E53D-4018-A66F-CEBBCC2D158E}" dt="2025-04-24T08:29:46.658" v="14937" actId="164"/>
          <ac:spMkLst>
            <pc:docMk/>
            <pc:sldMk cId="3024128567" sldId="326"/>
            <ac:spMk id="4" creationId="{E995B6E6-E68D-8EB8-16EE-DB6B98E7257E}"/>
          </ac:spMkLst>
        </pc:spChg>
        <pc:spChg chg="mod">
          <ac:chgData name="Florian Faller" userId="4e496f4204a626e3" providerId="LiveId" clId="{9A21812C-E53D-4018-A66F-CEBBCC2D158E}" dt="2025-04-24T08:29:46.658" v="14937" actId="164"/>
          <ac:spMkLst>
            <pc:docMk/>
            <pc:sldMk cId="3024128567" sldId="326"/>
            <ac:spMk id="20" creationId="{29865DF6-FC85-F89A-E0C0-9A351C9A48C7}"/>
          </ac:spMkLst>
        </pc:spChg>
        <pc:spChg chg="mod">
          <ac:chgData name="Florian Faller" userId="4e496f4204a626e3" providerId="LiveId" clId="{9A21812C-E53D-4018-A66F-CEBBCC2D158E}" dt="2025-04-24T08:29:46.658" v="14937" actId="164"/>
          <ac:spMkLst>
            <pc:docMk/>
            <pc:sldMk cId="3024128567" sldId="326"/>
            <ac:spMk id="21" creationId="{B0CF3E4C-C8B7-5140-7454-468F540E4ACF}"/>
          </ac:spMkLst>
        </pc:spChg>
        <pc:spChg chg="mod">
          <ac:chgData name="Florian Faller" userId="4e496f4204a626e3" providerId="LiveId" clId="{9A21812C-E53D-4018-A66F-CEBBCC2D158E}" dt="2025-04-24T08:29:46.658" v="14937" actId="164"/>
          <ac:spMkLst>
            <pc:docMk/>
            <pc:sldMk cId="3024128567" sldId="326"/>
            <ac:spMk id="22" creationId="{C917E905-97E3-AFBE-6296-2217624B4694}"/>
          </ac:spMkLst>
        </pc:spChg>
        <pc:spChg chg="mod">
          <ac:chgData name="Florian Faller" userId="4e496f4204a626e3" providerId="LiveId" clId="{9A21812C-E53D-4018-A66F-CEBBCC2D158E}" dt="2025-04-24T08:29:46.658" v="14937" actId="164"/>
          <ac:spMkLst>
            <pc:docMk/>
            <pc:sldMk cId="3024128567" sldId="326"/>
            <ac:spMk id="30" creationId="{D4F79C2C-205F-1293-D3FA-8C1CF7A27AF8}"/>
          </ac:spMkLst>
        </pc:spChg>
        <pc:spChg chg="mod">
          <ac:chgData name="Florian Faller" userId="4e496f4204a626e3" providerId="LiveId" clId="{9A21812C-E53D-4018-A66F-CEBBCC2D158E}" dt="2025-04-24T08:29:46.658" v="14937" actId="164"/>
          <ac:spMkLst>
            <pc:docMk/>
            <pc:sldMk cId="3024128567" sldId="326"/>
            <ac:spMk id="31" creationId="{9A4D09B6-A143-74D3-8B59-DDE60A4DCB4B}"/>
          </ac:spMkLst>
        </pc:spChg>
        <pc:spChg chg="mod">
          <ac:chgData name="Florian Faller" userId="4e496f4204a626e3" providerId="LiveId" clId="{9A21812C-E53D-4018-A66F-CEBBCC2D158E}" dt="2025-04-24T08:29:46.658" v="14937" actId="164"/>
          <ac:spMkLst>
            <pc:docMk/>
            <pc:sldMk cId="3024128567" sldId="326"/>
            <ac:spMk id="32" creationId="{6B974DE9-8B9F-3038-2919-196D9E593904}"/>
          </ac:spMkLst>
        </pc:spChg>
        <pc:grpChg chg="add mod">
          <ac:chgData name="Florian Faller" userId="4e496f4204a626e3" providerId="LiveId" clId="{9A21812C-E53D-4018-A66F-CEBBCC2D158E}" dt="2025-04-24T08:29:46.658" v="14937" actId="164"/>
          <ac:grpSpMkLst>
            <pc:docMk/>
            <pc:sldMk cId="3024128567" sldId="326"/>
            <ac:grpSpMk id="5" creationId="{46FBB861-4A39-BFB3-7EC9-842CFDB141F0}"/>
          </ac:grpSpMkLst>
        </pc:grpChg>
      </pc:sldChg>
      <pc:sldChg chg="add">
        <pc:chgData name="Florian Faller" userId="4e496f4204a626e3" providerId="LiveId" clId="{9A21812C-E53D-4018-A66F-CEBBCC2D158E}" dt="2025-04-24T07:09:52.306" v="12486" actId="2890"/>
        <pc:sldMkLst>
          <pc:docMk/>
          <pc:sldMk cId="3702952781" sldId="327"/>
        </pc:sldMkLst>
      </pc:sldChg>
      <pc:sldChg chg="new del">
        <pc:chgData name="Florian Faller" userId="4e496f4204a626e3" providerId="LiveId" clId="{9A21812C-E53D-4018-A66F-CEBBCC2D158E}" dt="2025-04-24T07:09:51.234" v="12485" actId="47"/>
        <pc:sldMkLst>
          <pc:docMk/>
          <pc:sldMk cId="4227134343" sldId="327"/>
        </pc:sldMkLst>
      </pc:sldChg>
      <pc:sldChg chg="addSp modSp ord modAnim">
        <pc:chgData name="Florian Faller" userId="4e496f4204a626e3" providerId="LiveId" clId="{9A21812C-E53D-4018-A66F-CEBBCC2D158E}" dt="2025-04-24T09:47:28.432" v="16452"/>
        <pc:sldMkLst>
          <pc:docMk/>
          <pc:sldMk cId="3702952781" sldId="328"/>
        </pc:sldMkLst>
        <pc:grpChg chg="add mod">
          <ac:chgData name="Florian Faller" userId="4e496f4204a626e3" providerId="LiveId" clId="{9A21812C-E53D-4018-A66F-CEBBCC2D158E}" dt="2025-04-24T09:31:37.635" v="16356" actId="164"/>
          <ac:grpSpMkLst>
            <pc:docMk/>
            <pc:sldMk cId="3702952781" sldId="328"/>
            <ac:grpSpMk id="5" creationId="{B035EC5B-7EFF-39EC-1145-BA078838169D}"/>
          </ac:grpSpMkLst>
        </pc:grpChg>
        <pc:grpChg chg="mod">
          <ac:chgData name="Florian Faller" userId="4e496f4204a626e3" providerId="LiveId" clId="{9A21812C-E53D-4018-A66F-CEBBCC2D158E}" dt="2025-04-24T09:31:37.635" v="16356" actId="164"/>
          <ac:grpSpMkLst>
            <pc:docMk/>
            <pc:sldMk cId="3702952781" sldId="328"/>
            <ac:grpSpMk id="37" creationId="{8C9AD1D9-0D21-BFA4-F352-6754D1806D35}"/>
          </ac:grpSpMkLst>
        </pc:grpChg>
        <pc:grpChg chg="mod">
          <ac:chgData name="Florian Faller" userId="4e496f4204a626e3" providerId="LiveId" clId="{9A21812C-E53D-4018-A66F-CEBBCC2D158E}" dt="2025-04-24T09:31:37.635" v="16356" actId="164"/>
          <ac:grpSpMkLst>
            <pc:docMk/>
            <pc:sldMk cId="3702952781" sldId="328"/>
            <ac:grpSpMk id="38" creationId="{3288959C-CBA7-222D-CE33-4753A4502A0F}"/>
          </ac:grpSpMkLst>
        </pc:grpChg>
      </pc:sldChg>
      <pc:sldChg chg="addSp delSp modSp add mod ord modAnim">
        <pc:chgData name="Florian Faller" userId="4e496f4204a626e3" providerId="LiveId" clId="{9A21812C-E53D-4018-A66F-CEBBCC2D158E}" dt="2025-04-24T09:48:38.035" v="16453"/>
        <pc:sldMkLst>
          <pc:docMk/>
          <pc:sldMk cId="3914386203" sldId="330"/>
        </pc:sldMkLst>
        <pc:spChg chg="mod">
          <ac:chgData name="Florian Faller" userId="4e496f4204a626e3" providerId="LiveId" clId="{9A21812C-E53D-4018-A66F-CEBBCC2D158E}" dt="2025-04-24T09:20:04.933" v="16199" actId="164"/>
          <ac:spMkLst>
            <pc:docMk/>
            <pc:sldMk cId="3914386203" sldId="330"/>
            <ac:spMk id="6" creationId="{F78966A8-0B5C-7276-25DF-C616EE0B7C1A}"/>
          </ac:spMkLst>
        </pc:spChg>
        <pc:spChg chg="mod">
          <ac:chgData name="Florian Faller" userId="4e496f4204a626e3" providerId="LiveId" clId="{9A21812C-E53D-4018-A66F-CEBBCC2D158E}" dt="2025-04-24T07:32:42.338" v="13185" actId="1037"/>
          <ac:spMkLst>
            <pc:docMk/>
            <pc:sldMk cId="3914386203" sldId="330"/>
            <ac:spMk id="8" creationId="{F6D05B33-BD0A-7C16-9D4D-4011518E0CB8}"/>
          </ac:spMkLst>
        </pc:spChg>
        <pc:spChg chg="mod">
          <ac:chgData name="Florian Faller" userId="4e496f4204a626e3" providerId="LiveId" clId="{9A21812C-E53D-4018-A66F-CEBBCC2D158E}" dt="2025-04-24T09:20:04.933" v="16199" actId="164"/>
          <ac:spMkLst>
            <pc:docMk/>
            <pc:sldMk cId="3914386203" sldId="330"/>
            <ac:spMk id="11" creationId="{34B8C313-B0A9-3FEF-7F13-C07B2B7C1E7E}"/>
          </ac:spMkLst>
        </pc:spChg>
        <pc:spChg chg="mod">
          <ac:chgData name="Florian Faller" userId="4e496f4204a626e3" providerId="LiveId" clId="{9A21812C-E53D-4018-A66F-CEBBCC2D158E}" dt="2025-04-24T09:20:04.933" v="16199" actId="164"/>
          <ac:spMkLst>
            <pc:docMk/>
            <pc:sldMk cId="3914386203" sldId="330"/>
            <ac:spMk id="12" creationId="{26CE3F9D-0C91-D692-5BFC-9E2E4E50A568}"/>
          </ac:spMkLst>
        </pc:spChg>
        <pc:spChg chg="mod">
          <ac:chgData name="Florian Faller" userId="4e496f4204a626e3" providerId="LiveId" clId="{9A21812C-E53D-4018-A66F-CEBBCC2D158E}" dt="2025-04-24T09:20:04.933" v="16199" actId="164"/>
          <ac:spMkLst>
            <pc:docMk/>
            <pc:sldMk cId="3914386203" sldId="330"/>
            <ac:spMk id="24" creationId="{2E13839D-9C98-C7D6-D9D4-6DA6A1ECE32F}"/>
          </ac:spMkLst>
        </pc:spChg>
        <pc:spChg chg="mod">
          <ac:chgData name="Florian Faller" userId="4e496f4204a626e3" providerId="LiveId" clId="{9A21812C-E53D-4018-A66F-CEBBCC2D158E}" dt="2025-04-24T09:20:04.933" v="16199" actId="164"/>
          <ac:spMkLst>
            <pc:docMk/>
            <pc:sldMk cId="3914386203" sldId="330"/>
            <ac:spMk id="25" creationId="{BD554944-0102-C9A1-7190-B56690582AC7}"/>
          </ac:spMkLst>
        </pc:spChg>
        <pc:spChg chg="mod">
          <ac:chgData name="Florian Faller" userId="4e496f4204a626e3" providerId="LiveId" clId="{9A21812C-E53D-4018-A66F-CEBBCC2D158E}" dt="2025-04-24T09:20:04.933" v="16199" actId="164"/>
          <ac:spMkLst>
            <pc:docMk/>
            <pc:sldMk cId="3914386203" sldId="330"/>
            <ac:spMk id="30" creationId="{FC3CBA84-0758-E69D-6BFA-BE6352CAD827}"/>
          </ac:spMkLst>
        </pc:spChg>
        <pc:spChg chg="mod">
          <ac:chgData name="Florian Faller" userId="4e496f4204a626e3" providerId="LiveId" clId="{9A21812C-E53D-4018-A66F-CEBBCC2D158E}" dt="2025-04-24T09:20:04.933" v="16199" actId="164"/>
          <ac:spMkLst>
            <pc:docMk/>
            <pc:sldMk cId="3914386203" sldId="330"/>
            <ac:spMk id="33" creationId="{CD641F5F-B58D-4D4B-1C06-99FBDAC15DCB}"/>
          </ac:spMkLst>
        </pc:spChg>
        <pc:spChg chg="mod">
          <ac:chgData name="Florian Faller" userId="4e496f4204a626e3" providerId="LiveId" clId="{9A21812C-E53D-4018-A66F-CEBBCC2D158E}" dt="2025-04-24T09:20:04.933" v="16199" actId="164"/>
          <ac:spMkLst>
            <pc:docMk/>
            <pc:sldMk cId="3914386203" sldId="330"/>
            <ac:spMk id="34" creationId="{618D563B-1261-2B5F-4A57-BE21BBC8B363}"/>
          </ac:spMkLst>
        </pc:spChg>
        <pc:spChg chg="mod">
          <ac:chgData name="Florian Faller" userId="4e496f4204a626e3" providerId="LiveId" clId="{9A21812C-E53D-4018-A66F-CEBBCC2D158E}" dt="2025-04-24T09:20:04.933" v="16199" actId="164"/>
          <ac:spMkLst>
            <pc:docMk/>
            <pc:sldMk cId="3914386203" sldId="330"/>
            <ac:spMk id="35" creationId="{E4562A69-B37D-455D-0BC8-86B9CF2F2F33}"/>
          </ac:spMkLst>
        </pc:spChg>
        <pc:spChg chg="mod">
          <ac:chgData name="Florian Faller" userId="4e496f4204a626e3" providerId="LiveId" clId="{9A21812C-E53D-4018-A66F-CEBBCC2D158E}" dt="2025-04-24T09:20:04.933" v="16199" actId="164"/>
          <ac:spMkLst>
            <pc:docMk/>
            <pc:sldMk cId="3914386203" sldId="330"/>
            <ac:spMk id="36" creationId="{656F9377-7ECA-AC12-9EC7-4345CE17C8A8}"/>
          </ac:spMkLst>
        </pc:spChg>
        <pc:grpChg chg="mod">
          <ac:chgData name="Florian Faller" userId="4e496f4204a626e3" providerId="LiveId" clId="{9A21812C-E53D-4018-A66F-CEBBCC2D158E}" dt="2025-04-24T07:33:02.834" v="13187" actId="1076"/>
          <ac:grpSpMkLst>
            <pc:docMk/>
            <pc:sldMk cId="3914386203" sldId="330"/>
            <ac:grpSpMk id="10" creationId="{CA77BDA2-0081-D6AE-71FB-BF94C2028E5E}"/>
          </ac:grpSpMkLst>
        </pc:grpChg>
        <pc:picChg chg="mod">
          <ac:chgData name="Florian Faller" userId="4e496f4204a626e3" providerId="LiveId" clId="{9A21812C-E53D-4018-A66F-CEBBCC2D158E}" dt="2025-04-24T07:32:03.722" v="13174" actId="164"/>
          <ac:picMkLst>
            <pc:docMk/>
            <pc:sldMk cId="3914386203" sldId="330"/>
            <ac:picMk id="13" creationId="{E0762912-78CF-CE30-C9FE-5F877F572BED}"/>
          </ac:picMkLst>
        </pc:picChg>
        <pc:picChg chg="mod">
          <ac:chgData name="Florian Faller" userId="4e496f4204a626e3" providerId="LiveId" clId="{9A21812C-E53D-4018-A66F-CEBBCC2D158E}" dt="2025-04-24T07:32:03.722" v="13174" actId="164"/>
          <ac:picMkLst>
            <pc:docMk/>
            <pc:sldMk cId="3914386203" sldId="330"/>
            <ac:picMk id="19" creationId="{A573393D-6F30-1C01-D8DE-91BDEC2EA365}"/>
          </ac:picMkLst>
        </pc:picChg>
        <pc:picChg chg="mod">
          <ac:chgData name="Florian Faller" userId="4e496f4204a626e3" providerId="LiveId" clId="{9A21812C-E53D-4018-A66F-CEBBCC2D158E}" dt="2025-04-24T07:32:03.722" v="13174" actId="164"/>
          <ac:picMkLst>
            <pc:docMk/>
            <pc:sldMk cId="3914386203" sldId="330"/>
            <ac:picMk id="20" creationId="{052E9A48-0287-FAC7-F7DB-2A833FD49EB4}"/>
          </ac:picMkLst>
        </pc:picChg>
        <pc:picChg chg="mod">
          <ac:chgData name="Florian Faller" userId="4e496f4204a626e3" providerId="LiveId" clId="{9A21812C-E53D-4018-A66F-CEBBCC2D158E}" dt="2025-04-24T07:32:03.722" v="13174" actId="164"/>
          <ac:picMkLst>
            <pc:docMk/>
            <pc:sldMk cId="3914386203" sldId="330"/>
            <ac:picMk id="21" creationId="{91A0FF1C-365C-026A-5BA1-AC4FF8D263FB}"/>
          </ac:picMkLst>
        </pc:picChg>
        <pc:picChg chg="mod">
          <ac:chgData name="Florian Faller" userId="4e496f4204a626e3" providerId="LiveId" clId="{9A21812C-E53D-4018-A66F-CEBBCC2D158E}" dt="2025-04-24T07:32:03.722" v="13174" actId="164"/>
          <ac:picMkLst>
            <pc:docMk/>
            <pc:sldMk cId="3914386203" sldId="330"/>
            <ac:picMk id="22" creationId="{5D062B2F-43B0-E8FF-7301-1DA331C02C7C}"/>
          </ac:picMkLst>
        </pc:picChg>
        <pc:picChg chg="del mod">
          <ac:chgData name="Florian Faller" userId="4e496f4204a626e3" providerId="LiveId" clId="{9A21812C-E53D-4018-A66F-CEBBCC2D158E}" dt="2025-04-24T07:32:29.931" v="13177" actId="478"/>
          <ac:picMkLst>
            <pc:docMk/>
            <pc:sldMk cId="3914386203" sldId="330"/>
            <ac:picMk id="28" creationId="{C1887C95-E76D-BCCE-7F6C-C5E163CB5297}"/>
          </ac:picMkLst>
        </pc:picChg>
        <pc:picChg chg="mod">
          <ac:chgData name="Florian Faller" userId="4e496f4204a626e3" providerId="LiveId" clId="{9A21812C-E53D-4018-A66F-CEBBCC2D158E}" dt="2025-04-24T07:32:03.722" v="13174" actId="164"/>
          <ac:picMkLst>
            <pc:docMk/>
            <pc:sldMk cId="3914386203" sldId="330"/>
            <ac:picMk id="32" creationId="{FE102C20-FA00-A4EE-3E10-AC8A726D1952}"/>
          </ac:picMkLst>
        </pc:picChg>
        <pc:picChg chg="mod">
          <ac:chgData name="Florian Faller" userId="4e496f4204a626e3" providerId="LiveId" clId="{9A21812C-E53D-4018-A66F-CEBBCC2D158E}" dt="2025-04-24T07:32:03.722" v="13174" actId="164"/>
          <ac:picMkLst>
            <pc:docMk/>
            <pc:sldMk cId="3914386203" sldId="330"/>
            <ac:picMk id="39" creationId="{4275E7E1-375B-32F4-61AA-5074098B6C06}"/>
          </ac:picMkLst>
        </pc:picChg>
        <pc:picChg chg="mod">
          <ac:chgData name="Florian Faller" userId="4e496f4204a626e3" providerId="LiveId" clId="{9A21812C-E53D-4018-A66F-CEBBCC2D158E}" dt="2025-04-24T07:32:03.722" v="13174" actId="164"/>
          <ac:picMkLst>
            <pc:docMk/>
            <pc:sldMk cId="3914386203" sldId="330"/>
            <ac:picMk id="42" creationId="{F3B5F006-5341-A4EC-28F9-41D17CA49B3B}"/>
          </ac:picMkLst>
        </pc:picChg>
        <pc:picChg chg="mod">
          <ac:chgData name="Florian Faller" userId="4e496f4204a626e3" providerId="LiveId" clId="{9A21812C-E53D-4018-A66F-CEBBCC2D158E}" dt="2025-04-24T07:32:03.722" v="13174" actId="164"/>
          <ac:picMkLst>
            <pc:docMk/>
            <pc:sldMk cId="3914386203" sldId="330"/>
            <ac:picMk id="43" creationId="{57801694-197C-6D50-E951-6B093A1AE88F}"/>
          </ac:picMkLst>
        </pc:picChg>
        <pc:picChg chg="mod">
          <ac:chgData name="Florian Faller" userId="4e496f4204a626e3" providerId="LiveId" clId="{9A21812C-E53D-4018-A66F-CEBBCC2D158E}" dt="2025-04-24T07:32:03.722" v="13174" actId="164"/>
          <ac:picMkLst>
            <pc:docMk/>
            <pc:sldMk cId="3914386203" sldId="330"/>
            <ac:picMk id="44" creationId="{B79FA5D8-058D-50A6-5290-30EF4C71279E}"/>
          </ac:picMkLst>
        </pc:picChg>
      </pc:sldChg>
      <pc:sldChg chg="addSp delSp modSp add mod setBg modAnim">
        <pc:chgData name="Florian Faller" userId="4e496f4204a626e3" providerId="LiveId" clId="{9A21812C-E53D-4018-A66F-CEBBCC2D158E}" dt="2025-04-24T08:30:21.117" v="14944"/>
        <pc:sldMkLst>
          <pc:docMk/>
          <pc:sldMk cId="1338676775" sldId="331"/>
        </pc:sldMkLst>
        <pc:spChg chg="mod ord">
          <ac:chgData name="Florian Faller" userId="4e496f4204a626e3" providerId="LiveId" clId="{9A21812C-E53D-4018-A66F-CEBBCC2D158E}" dt="2025-04-24T07:36:36.095" v="13302"/>
          <ac:spMkLst>
            <pc:docMk/>
            <pc:sldMk cId="1338676775" sldId="331"/>
            <ac:spMk id="2" creationId="{10880260-F174-EFC5-92DA-6C332B5CA6E6}"/>
          </ac:spMkLst>
        </pc:spChg>
        <pc:spChg chg="mod ord">
          <ac:chgData name="Florian Faller" userId="4e496f4204a626e3" providerId="LiveId" clId="{9A21812C-E53D-4018-A66F-CEBBCC2D158E}" dt="2025-04-24T07:36:36.097" v="13304"/>
          <ac:spMkLst>
            <pc:docMk/>
            <pc:sldMk cId="1338676775" sldId="331"/>
            <ac:spMk id="3" creationId="{1C57ADA5-2D38-C492-EC7E-4BA1AD049B36}"/>
          </ac:spMkLst>
        </pc:spChg>
        <pc:spChg chg="mod ord">
          <ac:chgData name="Florian Faller" userId="4e496f4204a626e3" providerId="LiveId" clId="{9A21812C-E53D-4018-A66F-CEBBCC2D158E}" dt="2025-04-24T07:36:36.101" v="13306"/>
          <ac:spMkLst>
            <pc:docMk/>
            <pc:sldMk cId="1338676775" sldId="331"/>
            <ac:spMk id="4" creationId="{5F288D72-83D6-A00C-AEE6-B7E337F6EC43}"/>
          </ac:spMkLst>
        </pc:spChg>
        <pc:spChg chg="del mod">
          <ac:chgData name="Florian Faller" userId="4e496f4204a626e3" providerId="LiveId" clId="{9A21812C-E53D-4018-A66F-CEBBCC2D158E}" dt="2025-04-24T07:33:46.367" v="13190" actId="478"/>
          <ac:spMkLst>
            <pc:docMk/>
            <pc:sldMk cId="1338676775" sldId="331"/>
            <ac:spMk id="6" creationId="{04915D18-5EBB-1EE6-2411-3FFF28FF61CB}"/>
          </ac:spMkLst>
        </pc:spChg>
        <pc:spChg chg="del mod">
          <ac:chgData name="Florian Faller" userId="4e496f4204a626e3" providerId="LiveId" clId="{9A21812C-E53D-4018-A66F-CEBBCC2D158E}" dt="2025-04-24T07:33:46.367" v="13190" actId="478"/>
          <ac:spMkLst>
            <pc:docMk/>
            <pc:sldMk cId="1338676775" sldId="331"/>
            <ac:spMk id="7" creationId="{426F306B-57AD-62B2-8A7A-E90BE440330A}"/>
          </ac:spMkLst>
        </pc:spChg>
        <pc:spChg chg="mod">
          <ac:chgData name="Florian Faller" userId="4e496f4204a626e3" providerId="LiveId" clId="{9A21812C-E53D-4018-A66F-CEBBCC2D158E}" dt="2025-04-24T07:33:46.190" v="13189" actId="2085"/>
          <ac:spMkLst>
            <pc:docMk/>
            <pc:sldMk cId="1338676775" sldId="331"/>
            <ac:spMk id="8" creationId="{EB090DFB-D785-D5A7-FA31-775B055F9FB1}"/>
          </ac:spMkLst>
        </pc:spChg>
        <pc:spChg chg="del mod">
          <ac:chgData name="Florian Faller" userId="4e496f4204a626e3" providerId="LiveId" clId="{9A21812C-E53D-4018-A66F-CEBBCC2D158E}" dt="2025-04-24T07:33:46.367" v="13190" actId="478"/>
          <ac:spMkLst>
            <pc:docMk/>
            <pc:sldMk cId="1338676775" sldId="331"/>
            <ac:spMk id="9" creationId="{DA02CEAE-E1FF-6241-92BE-92E72A7E757F}"/>
          </ac:spMkLst>
        </pc:spChg>
        <pc:spChg chg="del mod">
          <ac:chgData name="Florian Faller" userId="4e496f4204a626e3" providerId="LiveId" clId="{9A21812C-E53D-4018-A66F-CEBBCC2D158E}" dt="2025-04-24T07:33:46.367" v="13190" actId="478"/>
          <ac:spMkLst>
            <pc:docMk/>
            <pc:sldMk cId="1338676775" sldId="331"/>
            <ac:spMk id="10" creationId="{E90E76A6-2C14-F7E6-35EB-F6FC6B3F414A}"/>
          </ac:spMkLst>
        </pc:spChg>
        <pc:spChg chg="del mod">
          <ac:chgData name="Florian Faller" userId="4e496f4204a626e3" providerId="LiveId" clId="{9A21812C-E53D-4018-A66F-CEBBCC2D158E}" dt="2025-04-24T07:33:46.367" v="13190" actId="478"/>
          <ac:spMkLst>
            <pc:docMk/>
            <pc:sldMk cId="1338676775" sldId="331"/>
            <ac:spMk id="11" creationId="{913C758B-3DEA-DD11-3809-B1449E2FFB19}"/>
          </ac:spMkLst>
        </pc:spChg>
        <pc:spChg chg="del mod">
          <ac:chgData name="Florian Faller" userId="4e496f4204a626e3" providerId="LiveId" clId="{9A21812C-E53D-4018-A66F-CEBBCC2D158E}" dt="2025-04-24T07:33:46.367" v="13190" actId="478"/>
          <ac:spMkLst>
            <pc:docMk/>
            <pc:sldMk cId="1338676775" sldId="331"/>
            <ac:spMk id="12" creationId="{40493629-AE35-06A5-2BD1-FE9CDB498141}"/>
          </ac:spMkLst>
        </pc:spChg>
        <pc:spChg chg="mod ord">
          <ac:chgData name="Florian Faller" userId="4e496f4204a626e3" providerId="LiveId" clId="{9A21812C-E53D-4018-A66F-CEBBCC2D158E}" dt="2025-04-24T07:36:36.103" v="13308"/>
          <ac:spMkLst>
            <pc:docMk/>
            <pc:sldMk cId="1338676775" sldId="331"/>
            <ac:spMk id="14" creationId="{0AB56A72-7AA5-700C-93BF-5EC9FD1B354D}"/>
          </ac:spMkLst>
        </pc:spChg>
        <pc:spChg chg="mod ord">
          <ac:chgData name="Florian Faller" userId="4e496f4204a626e3" providerId="LiveId" clId="{9A21812C-E53D-4018-A66F-CEBBCC2D158E}" dt="2025-04-24T07:36:36.105" v="13310"/>
          <ac:spMkLst>
            <pc:docMk/>
            <pc:sldMk cId="1338676775" sldId="331"/>
            <ac:spMk id="15" creationId="{05E01DE5-1A12-D61F-120A-ECB3DE921CB2}"/>
          </ac:spMkLst>
        </pc:spChg>
        <pc:spChg chg="del">
          <ac:chgData name="Florian Faller" userId="4e496f4204a626e3" providerId="LiveId" clId="{9A21812C-E53D-4018-A66F-CEBBCC2D158E}" dt="2025-04-24T07:33:49.531" v="13191" actId="478"/>
          <ac:spMkLst>
            <pc:docMk/>
            <pc:sldMk cId="1338676775" sldId="331"/>
            <ac:spMk id="16" creationId="{0FA142F3-8974-3FDF-C9B0-7B269E25311A}"/>
          </ac:spMkLst>
        </pc:spChg>
        <pc:spChg chg="del mod">
          <ac:chgData name="Florian Faller" userId="4e496f4204a626e3" providerId="LiveId" clId="{9A21812C-E53D-4018-A66F-CEBBCC2D158E}" dt="2025-04-24T07:33:46.367" v="13190" actId="478"/>
          <ac:spMkLst>
            <pc:docMk/>
            <pc:sldMk cId="1338676775" sldId="331"/>
            <ac:spMk id="17" creationId="{CD61C19F-ED6C-7AA3-D471-2F2566925CAA}"/>
          </ac:spMkLst>
        </pc:spChg>
        <pc:spChg chg="del">
          <ac:chgData name="Florian Faller" userId="4e496f4204a626e3" providerId="LiveId" clId="{9A21812C-E53D-4018-A66F-CEBBCC2D158E}" dt="2025-04-24T07:33:46.367" v="13190" actId="478"/>
          <ac:spMkLst>
            <pc:docMk/>
            <pc:sldMk cId="1338676775" sldId="331"/>
            <ac:spMk id="18" creationId="{25D09A6D-9498-201C-6E5A-023BA8D3BE06}"/>
          </ac:spMkLst>
        </pc:spChg>
        <pc:spChg chg="del mod">
          <ac:chgData name="Florian Faller" userId="4e496f4204a626e3" providerId="LiveId" clId="{9A21812C-E53D-4018-A66F-CEBBCC2D158E}" dt="2025-04-24T07:33:46.367" v="13190" actId="478"/>
          <ac:spMkLst>
            <pc:docMk/>
            <pc:sldMk cId="1338676775" sldId="331"/>
            <ac:spMk id="19" creationId="{6690BD75-B47B-6CDA-838E-1AFF9F00893C}"/>
          </ac:spMkLst>
        </pc:spChg>
        <pc:spChg chg="del mod">
          <ac:chgData name="Florian Faller" userId="4e496f4204a626e3" providerId="LiveId" clId="{9A21812C-E53D-4018-A66F-CEBBCC2D158E}" dt="2025-04-24T07:33:46.367" v="13190" actId="478"/>
          <ac:spMkLst>
            <pc:docMk/>
            <pc:sldMk cId="1338676775" sldId="331"/>
            <ac:spMk id="20" creationId="{55752D37-02BA-4B95-59DE-73E112843299}"/>
          </ac:spMkLst>
        </pc:spChg>
        <pc:spChg chg="del">
          <ac:chgData name="Florian Faller" userId="4e496f4204a626e3" providerId="LiveId" clId="{9A21812C-E53D-4018-A66F-CEBBCC2D158E}" dt="2025-04-24T07:33:49.531" v="13191" actId="478"/>
          <ac:spMkLst>
            <pc:docMk/>
            <pc:sldMk cId="1338676775" sldId="331"/>
            <ac:spMk id="22" creationId="{F921C1D2-6B2F-EF78-5A96-598108FF4EA8}"/>
          </ac:spMkLst>
        </pc:spChg>
        <pc:spChg chg="del">
          <ac:chgData name="Florian Faller" userId="4e496f4204a626e3" providerId="LiveId" clId="{9A21812C-E53D-4018-A66F-CEBBCC2D158E}" dt="2025-04-24T07:33:49.531" v="13191" actId="478"/>
          <ac:spMkLst>
            <pc:docMk/>
            <pc:sldMk cId="1338676775" sldId="331"/>
            <ac:spMk id="24" creationId="{C0E7B053-D955-6A7A-5909-8D385E68C9DC}"/>
          </ac:spMkLst>
        </pc:spChg>
        <pc:spChg chg="del">
          <ac:chgData name="Florian Faller" userId="4e496f4204a626e3" providerId="LiveId" clId="{9A21812C-E53D-4018-A66F-CEBBCC2D158E}" dt="2025-04-24T07:33:49.531" v="13191" actId="478"/>
          <ac:spMkLst>
            <pc:docMk/>
            <pc:sldMk cId="1338676775" sldId="331"/>
            <ac:spMk id="26" creationId="{FB9F0156-7D0F-A1AB-611B-A3ED4E6E8344}"/>
          </ac:spMkLst>
        </pc:spChg>
        <pc:spChg chg="del">
          <ac:chgData name="Florian Faller" userId="4e496f4204a626e3" providerId="LiveId" clId="{9A21812C-E53D-4018-A66F-CEBBCC2D158E}" dt="2025-04-24T07:33:49.531" v="13191" actId="478"/>
          <ac:spMkLst>
            <pc:docMk/>
            <pc:sldMk cId="1338676775" sldId="331"/>
            <ac:spMk id="28" creationId="{63709EE9-24C6-8035-95F0-7978863B1FB6}"/>
          </ac:spMkLst>
        </pc:spChg>
        <pc:spChg chg="del">
          <ac:chgData name="Florian Faller" userId="4e496f4204a626e3" providerId="LiveId" clId="{9A21812C-E53D-4018-A66F-CEBBCC2D158E}" dt="2025-04-24T07:33:49.531" v="13191" actId="478"/>
          <ac:spMkLst>
            <pc:docMk/>
            <pc:sldMk cId="1338676775" sldId="331"/>
            <ac:spMk id="30" creationId="{6E17AADF-6995-2196-978B-458F5056E85B}"/>
          </ac:spMkLst>
        </pc:spChg>
        <pc:spChg chg="add mod ord topLvl">
          <ac:chgData name="Florian Faller" userId="4e496f4204a626e3" providerId="LiveId" clId="{9A21812C-E53D-4018-A66F-CEBBCC2D158E}" dt="2025-04-24T08:30:13.539" v="14942" actId="164"/>
          <ac:spMkLst>
            <pc:docMk/>
            <pc:sldMk cId="1338676775" sldId="331"/>
            <ac:spMk id="31" creationId="{67910F27-C0EC-877A-32E4-A823FBD54506}"/>
          </ac:spMkLst>
        </pc:spChg>
        <pc:spChg chg="add mod ord topLvl">
          <ac:chgData name="Florian Faller" userId="4e496f4204a626e3" providerId="LiveId" clId="{9A21812C-E53D-4018-A66F-CEBBCC2D158E}" dt="2025-04-24T08:30:13.539" v="14942" actId="164"/>
          <ac:spMkLst>
            <pc:docMk/>
            <pc:sldMk cId="1338676775" sldId="331"/>
            <ac:spMk id="32" creationId="{598D76AA-6DE8-E15D-0685-8848E74B602B}"/>
          </ac:spMkLst>
        </pc:spChg>
        <pc:spChg chg="mod">
          <ac:chgData name="Florian Faller" userId="4e496f4204a626e3" providerId="LiveId" clId="{9A21812C-E53D-4018-A66F-CEBBCC2D158E}" dt="2025-04-24T07:34:50.471" v="13220" actId="571"/>
          <ac:spMkLst>
            <pc:docMk/>
            <pc:sldMk cId="1338676775" sldId="331"/>
            <ac:spMk id="35" creationId="{688CC0DA-97D1-980A-182F-3BD589E4C4F1}"/>
          </ac:spMkLst>
        </pc:spChg>
        <pc:spChg chg="mod">
          <ac:chgData name="Florian Faller" userId="4e496f4204a626e3" providerId="LiveId" clId="{9A21812C-E53D-4018-A66F-CEBBCC2D158E}" dt="2025-04-24T07:34:50.471" v="13220" actId="571"/>
          <ac:spMkLst>
            <pc:docMk/>
            <pc:sldMk cId="1338676775" sldId="331"/>
            <ac:spMk id="36" creationId="{54CD98E5-A719-4C7D-8293-4B85AE7AD10F}"/>
          </ac:spMkLst>
        </pc:spChg>
        <pc:spChg chg="mod">
          <ac:chgData name="Florian Faller" userId="4e496f4204a626e3" providerId="LiveId" clId="{9A21812C-E53D-4018-A66F-CEBBCC2D158E}" dt="2025-04-24T07:34:50.243" v="13218" actId="571"/>
          <ac:spMkLst>
            <pc:docMk/>
            <pc:sldMk cId="1338676775" sldId="331"/>
            <ac:spMk id="38" creationId="{70BE5981-CDF1-B368-4B68-3BFF5C362D2A}"/>
          </ac:spMkLst>
        </pc:spChg>
        <pc:spChg chg="mod">
          <ac:chgData name="Florian Faller" userId="4e496f4204a626e3" providerId="LiveId" clId="{9A21812C-E53D-4018-A66F-CEBBCC2D158E}" dt="2025-04-24T07:34:50.243" v="13218" actId="571"/>
          <ac:spMkLst>
            <pc:docMk/>
            <pc:sldMk cId="1338676775" sldId="331"/>
            <ac:spMk id="39" creationId="{24E7E8A3-4463-884B-ACEA-3B54E8D10D1D}"/>
          </ac:spMkLst>
        </pc:spChg>
        <pc:spChg chg="mod ord topLvl">
          <ac:chgData name="Florian Faller" userId="4e496f4204a626e3" providerId="LiveId" clId="{9A21812C-E53D-4018-A66F-CEBBCC2D158E}" dt="2025-04-24T08:30:13.539" v="14942" actId="164"/>
          <ac:spMkLst>
            <pc:docMk/>
            <pc:sldMk cId="1338676775" sldId="331"/>
            <ac:spMk id="41" creationId="{C2D5CA95-3A0C-EAC0-E928-1D28378B1AE7}"/>
          </ac:spMkLst>
        </pc:spChg>
        <pc:spChg chg="mod ord topLvl">
          <ac:chgData name="Florian Faller" userId="4e496f4204a626e3" providerId="LiveId" clId="{9A21812C-E53D-4018-A66F-CEBBCC2D158E}" dt="2025-04-24T08:30:13.539" v="14942" actId="164"/>
          <ac:spMkLst>
            <pc:docMk/>
            <pc:sldMk cId="1338676775" sldId="331"/>
            <ac:spMk id="42" creationId="{92E72534-BE17-E3C3-B6CE-64F4BAC8E69C}"/>
          </ac:spMkLst>
        </pc:spChg>
        <pc:spChg chg="del mod ord topLvl">
          <ac:chgData name="Florian Faller" userId="4e496f4204a626e3" providerId="LiveId" clId="{9A21812C-E53D-4018-A66F-CEBBCC2D158E}" dt="2025-04-24T07:39:22" v="13368" actId="478"/>
          <ac:spMkLst>
            <pc:docMk/>
            <pc:sldMk cId="1338676775" sldId="331"/>
            <ac:spMk id="44" creationId="{D4C18C08-1863-D056-BB2A-30125A32A841}"/>
          </ac:spMkLst>
        </pc:spChg>
        <pc:spChg chg="del mod ord topLvl">
          <ac:chgData name="Florian Faller" userId="4e496f4204a626e3" providerId="LiveId" clId="{9A21812C-E53D-4018-A66F-CEBBCC2D158E}" dt="2025-04-24T07:39:22" v="13368" actId="478"/>
          <ac:spMkLst>
            <pc:docMk/>
            <pc:sldMk cId="1338676775" sldId="331"/>
            <ac:spMk id="45" creationId="{DF9BFCEA-1FC8-D839-4E03-F39C85F75AD8}"/>
          </ac:spMkLst>
        </pc:spChg>
        <pc:spChg chg="mod ord topLvl">
          <ac:chgData name="Florian Faller" userId="4e496f4204a626e3" providerId="LiveId" clId="{9A21812C-E53D-4018-A66F-CEBBCC2D158E}" dt="2025-04-24T08:30:13.539" v="14942" actId="164"/>
          <ac:spMkLst>
            <pc:docMk/>
            <pc:sldMk cId="1338676775" sldId="331"/>
            <ac:spMk id="47" creationId="{A22997EB-5C5A-AC03-0E20-5A0174E112CC}"/>
          </ac:spMkLst>
        </pc:spChg>
        <pc:spChg chg="mod ord topLvl">
          <ac:chgData name="Florian Faller" userId="4e496f4204a626e3" providerId="LiveId" clId="{9A21812C-E53D-4018-A66F-CEBBCC2D158E}" dt="2025-04-24T08:30:13.539" v="14942" actId="164"/>
          <ac:spMkLst>
            <pc:docMk/>
            <pc:sldMk cId="1338676775" sldId="331"/>
            <ac:spMk id="48" creationId="{0C55DC71-1A25-02D4-9D00-E47B13372B8A}"/>
          </ac:spMkLst>
        </pc:spChg>
        <pc:grpChg chg="add mod">
          <ac:chgData name="Florian Faller" userId="4e496f4204a626e3" providerId="LiveId" clId="{9A21812C-E53D-4018-A66F-CEBBCC2D158E}" dt="2025-04-24T07:35:00.452" v="13225" actId="14100"/>
          <ac:grpSpMkLst>
            <pc:docMk/>
            <pc:sldMk cId="1338676775" sldId="331"/>
            <ac:grpSpMk id="33" creationId="{00E3DD51-47FD-F386-D4C4-574CF9A4923E}"/>
          </ac:grpSpMkLst>
        </pc:grpChg>
        <pc:grpChg chg="add mod">
          <ac:chgData name="Florian Faller" userId="4e496f4204a626e3" providerId="LiveId" clId="{9A21812C-E53D-4018-A66F-CEBBCC2D158E}" dt="2025-04-24T07:34:50.471" v="13220" actId="571"/>
          <ac:grpSpMkLst>
            <pc:docMk/>
            <pc:sldMk cId="1338676775" sldId="331"/>
            <ac:grpSpMk id="34" creationId="{8D997994-775A-DAC3-D31F-54BA54731F6D}"/>
          </ac:grpSpMkLst>
        </pc:grpChg>
        <pc:grpChg chg="add mod">
          <ac:chgData name="Florian Faller" userId="4e496f4204a626e3" providerId="LiveId" clId="{9A21812C-E53D-4018-A66F-CEBBCC2D158E}" dt="2025-04-24T07:34:50.243" v="13218" actId="571"/>
          <ac:grpSpMkLst>
            <pc:docMk/>
            <pc:sldMk cId="1338676775" sldId="331"/>
            <ac:grpSpMk id="37" creationId="{589A64F1-E5AE-E9DE-58AA-EFA1A994BE1B}"/>
          </ac:grpSpMkLst>
        </pc:grpChg>
        <pc:grpChg chg="add mod">
          <ac:chgData name="Florian Faller" userId="4e496f4204a626e3" providerId="LiveId" clId="{9A21812C-E53D-4018-A66F-CEBBCC2D158E}" dt="2025-04-24T07:35:07.156" v="13227" actId="408"/>
          <ac:grpSpMkLst>
            <pc:docMk/>
            <pc:sldMk cId="1338676775" sldId="331"/>
            <ac:grpSpMk id="40" creationId="{D6529EA3-5398-9A03-7A38-FD76EA594251}"/>
          </ac:grpSpMkLst>
        </pc:grpChg>
        <pc:grpChg chg="add del mod">
          <ac:chgData name="Florian Faller" userId="4e496f4204a626e3" providerId="LiveId" clId="{9A21812C-E53D-4018-A66F-CEBBCC2D158E}" dt="2025-04-24T07:36:30.909" v="13290" actId="165"/>
          <ac:grpSpMkLst>
            <pc:docMk/>
            <pc:sldMk cId="1338676775" sldId="331"/>
            <ac:grpSpMk id="43" creationId="{10720D84-9CF8-BE73-FA86-86007816C82C}"/>
          </ac:grpSpMkLst>
        </pc:grpChg>
        <pc:grpChg chg="add del mod">
          <ac:chgData name="Florian Faller" userId="4e496f4204a626e3" providerId="LiveId" clId="{9A21812C-E53D-4018-A66F-CEBBCC2D158E}" dt="2025-04-24T07:36:30.909" v="13290" actId="165"/>
          <ac:grpSpMkLst>
            <pc:docMk/>
            <pc:sldMk cId="1338676775" sldId="331"/>
            <ac:grpSpMk id="46" creationId="{041B8509-68FE-3A28-1C71-B8BEA47431A5}"/>
          </ac:grpSpMkLst>
        </pc:grpChg>
        <pc:grpChg chg="add del mod">
          <ac:chgData name="Florian Faller" userId="4e496f4204a626e3" providerId="LiveId" clId="{9A21812C-E53D-4018-A66F-CEBBCC2D158E}" dt="2025-04-24T07:39:59.182" v="13379" actId="165"/>
          <ac:grpSpMkLst>
            <pc:docMk/>
            <pc:sldMk cId="1338676775" sldId="331"/>
            <ac:grpSpMk id="49" creationId="{8DE8EF58-21E7-5A9C-CCF3-28439ECAF1D9}"/>
          </ac:grpSpMkLst>
        </pc:grpChg>
        <pc:grpChg chg="add del mod">
          <ac:chgData name="Florian Faller" userId="4e496f4204a626e3" providerId="LiveId" clId="{9A21812C-E53D-4018-A66F-CEBBCC2D158E}" dt="2025-04-24T07:39:59.182" v="13379" actId="165"/>
          <ac:grpSpMkLst>
            <pc:docMk/>
            <pc:sldMk cId="1338676775" sldId="331"/>
            <ac:grpSpMk id="50" creationId="{66E8AB2B-419E-E106-1274-166357DC8701}"/>
          </ac:grpSpMkLst>
        </pc:grpChg>
        <pc:grpChg chg="add del mod">
          <ac:chgData name="Florian Faller" userId="4e496f4204a626e3" providerId="LiveId" clId="{9A21812C-E53D-4018-A66F-CEBBCC2D158E}" dt="2025-04-24T07:39:59.182" v="13379" actId="165"/>
          <ac:grpSpMkLst>
            <pc:docMk/>
            <pc:sldMk cId="1338676775" sldId="331"/>
            <ac:grpSpMk id="51" creationId="{DC60CDF3-645A-2DB5-AA06-F0D5455C7F39}"/>
          </ac:grpSpMkLst>
        </pc:grpChg>
        <pc:grpChg chg="add mod">
          <ac:chgData name="Florian Faller" userId="4e496f4204a626e3" providerId="LiveId" clId="{9A21812C-E53D-4018-A66F-CEBBCC2D158E}" dt="2025-04-24T08:30:13.539" v="14942" actId="164"/>
          <ac:grpSpMkLst>
            <pc:docMk/>
            <pc:sldMk cId="1338676775" sldId="331"/>
            <ac:grpSpMk id="52" creationId="{A218BB02-4F77-7D22-AD57-14FD06F30D20}"/>
          </ac:grpSpMkLst>
        </pc:grpChg>
        <pc:graphicFrameChg chg="mod">
          <ac:chgData name="Florian Faller" userId="4e496f4204a626e3" providerId="LiveId" clId="{9A21812C-E53D-4018-A66F-CEBBCC2D158E}" dt="2025-04-24T07:36:36.110" v="13320"/>
          <ac:graphicFrameMkLst>
            <pc:docMk/>
            <pc:sldMk cId="1338676775" sldId="331"/>
            <ac:graphicFrameMk id="13" creationId="{B9ABB47F-6B4E-EE8C-C4BC-F82A24315410}"/>
          </ac:graphicFrameMkLst>
        </pc:graphicFrameChg>
      </pc:sldChg>
      <pc:sldChg chg="del mod ord modShow">
        <pc:chgData name="Florian Faller" userId="4e496f4204a626e3" providerId="LiveId" clId="{9A21812C-E53D-4018-A66F-CEBBCC2D158E}" dt="2025-04-24T09:49:14.149" v="16454" actId="47"/>
        <pc:sldMkLst>
          <pc:docMk/>
          <pc:sldMk cId="3065724282" sldId="332"/>
        </pc:sldMkLst>
      </pc:sldChg>
      <pc:sldChg chg="addSp delSp modSp new del mod">
        <pc:chgData name="Florian Faller" userId="4e496f4204a626e3" providerId="LiveId" clId="{9A21812C-E53D-4018-A66F-CEBBCC2D158E}" dt="2025-04-24T08:23:24.874" v="14682" actId="47"/>
        <pc:sldMkLst>
          <pc:docMk/>
          <pc:sldMk cId="3401739797" sldId="333"/>
        </pc:sldMkLst>
        <pc:spChg chg="mod">
          <ac:chgData name="Florian Faller" userId="4e496f4204a626e3" providerId="LiveId" clId="{9A21812C-E53D-4018-A66F-CEBBCC2D158E}" dt="2025-04-24T07:48:51.429" v="13498" actId="948"/>
          <ac:spMkLst>
            <pc:docMk/>
            <pc:sldMk cId="3401739797" sldId="333"/>
            <ac:spMk id="37" creationId="{26D54E17-0DAE-1D0B-7F22-B819D159A854}"/>
          </ac:spMkLst>
        </pc:spChg>
        <pc:spChg chg="add del mod">
          <ac:chgData name="Florian Faller" userId="4e496f4204a626e3" providerId="LiveId" clId="{9A21812C-E53D-4018-A66F-CEBBCC2D158E}" dt="2025-04-24T08:23:23.622" v="14681" actId="21"/>
          <ac:spMkLst>
            <pc:docMk/>
            <pc:sldMk cId="3401739797" sldId="333"/>
            <ac:spMk id="39" creationId="{43504D03-C32D-B5F4-8379-445290487660}"/>
          </ac:spMkLst>
        </pc:spChg>
        <pc:graphicFrameChg chg="add mod ord modVis">
          <ac:chgData name="Florian Faller" userId="4e496f4204a626e3" providerId="LiveId" clId="{9A21812C-E53D-4018-A66F-CEBBCC2D158E}" dt="2025-04-24T07:48:51.538" v="13512"/>
          <ac:graphicFrameMkLst>
            <pc:docMk/>
            <pc:sldMk cId="3401739797" sldId="333"/>
            <ac:graphicFrameMk id="38" creationId="{6F055D6E-1746-E20B-867B-CDA550F6F66A}"/>
          </ac:graphicFrameMkLst>
        </pc:graphicFrameChg>
      </pc:sldChg>
      <pc:sldChg chg="addSp delSp modSp add mod modAnim">
        <pc:chgData name="Florian Faller" userId="4e496f4204a626e3" providerId="LiveId" clId="{9A21812C-E53D-4018-A66F-CEBBCC2D158E}" dt="2025-04-24T09:19:41.406" v="16198"/>
        <pc:sldMkLst>
          <pc:docMk/>
          <pc:sldMk cId="2740457966" sldId="334"/>
        </pc:sldMkLst>
        <pc:spChg chg="mod ord">
          <ac:chgData name="Florian Faller" userId="4e496f4204a626e3" providerId="LiveId" clId="{9A21812C-E53D-4018-A66F-CEBBCC2D158E}" dt="2025-04-24T09:19:41.396" v="16191"/>
          <ac:spMkLst>
            <pc:docMk/>
            <pc:sldMk cId="2740457966" sldId="334"/>
            <ac:spMk id="8" creationId="{01B8CB10-F3BA-00BA-B351-B404AFDA1230}"/>
          </ac:spMkLst>
        </pc:spChg>
        <pc:spChg chg="mod ord">
          <ac:chgData name="Florian Faller" userId="4e496f4204a626e3" providerId="LiveId" clId="{9A21812C-E53D-4018-A66F-CEBBCC2D158E}" dt="2025-04-24T09:19:41.398" v="16193"/>
          <ac:spMkLst>
            <pc:docMk/>
            <pc:sldMk cId="2740457966" sldId="334"/>
            <ac:spMk id="9" creationId="{4664CF12-62CA-D8A3-81AD-59ADC9C8C5C7}"/>
          </ac:spMkLst>
        </pc:spChg>
        <pc:spChg chg="add del mod ord">
          <ac:chgData name="Florian Faller" userId="4e496f4204a626e3" providerId="LiveId" clId="{9A21812C-E53D-4018-A66F-CEBBCC2D158E}" dt="2025-04-24T09:18:47.913" v="16161" actId="478"/>
          <ac:spMkLst>
            <pc:docMk/>
            <pc:sldMk cId="2740457966" sldId="334"/>
            <ac:spMk id="13" creationId="{AE300F67-3663-4228-92FD-27AE6D9CB08F}"/>
          </ac:spMkLst>
        </pc:spChg>
        <pc:spChg chg="add mod ord">
          <ac:chgData name="Florian Faller" userId="4e496f4204a626e3" providerId="LiveId" clId="{9A21812C-E53D-4018-A66F-CEBBCC2D158E}" dt="2025-04-24T09:19:08.790" v="16177" actId="164"/>
          <ac:spMkLst>
            <pc:docMk/>
            <pc:sldMk cId="2740457966" sldId="334"/>
            <ac:spMk id="17" creationId="{76515AF7-9E7B-F091-40C1-8B660A90439C}"/>
          </ac:spMkLst>
        </pc:spChg>
        <pc:spChg chg="add mod ord">
          <ac:chgData name="Florian Faller" userId="4e496f4204a626e3" providerId="LiveId" clId="{9A21812C-E53D-4018-A66F-CEBBCC2D158E}" dt="2025-04-24T09:19:08.790" v="16177" actId="164"/>
          <ac:spMkLst>
            <pc:docMk/>
            <pc:sldMk cId="2740457966" sldId="334"/>
            <ac:spMk id="18" creationId="{254FB30B-55C4-7670-9F1C-5FEA99A92A57}"/>
          </ac:spMkLst>
        </pc:spChg>
        <pc:spChg chg="add del mod ord">
          <ac:chgData name="Florian Faller" userId="4e496f4204a626e3" providerId="LiveId" clId="{9A21812C-E53D-4018-A66F-CEBBCC2D158E}" dt="2025-04-24T09:18:47.913" v="16161" actId="478"/>
          <ac:spMkLst>
            <pc:docMk/>
            <pc:sldMk cId="2740457966" sldId="334"/>
            <ac:spMk id="19" creationId="{F53EFA64-B285-B78A-00C4-FD41007EA9F8}"/>
          </ac:spMkLst>
        </pc:spChg>
        <pc:spChg chg="add mod ord">
          <ac:chgData name="Florian Faller" userId="4e496f4204a626e3" providerId="LiveId" clId="{9A21812C-E53D-4018-A66F-CEBBCC2D158E}" dt="2025-04-24T08:19:27.839" v="14445" actId="207"/>
          <ac:spMkLst>
            <pc:docMk/>
            <pc:sldMk cId="2740457966" sldId="334"/>
            <ac:spMk id="22" creationId="{041B7BEE-9B3A-7105-94A0-CAFB3BE4B2B9}"/>
          </ac:spMkLst>
        </pc:spChg>
        <pc:spChg chg="add del mod modVis">
          <ac:chgData name="Florian Faller" userId="4e496f4204a626e3" providerId="LiveId" clId="{9A21812C-E53D-4018-A66F-CEBBCC2D158E}" dt="2025-04-24T07:55:48.409" v="13730"/>
          <ac:spMkLst>
            <pc:docMk/>
            <pc:sldMk cId="2740457966" sldId="334"/>
            <ac:spMk id="24" creationId="{437DDBE5-E9AF-1B49-7655-35CEF3C85BAA}"/>
          </ac:spMkLst>
        </pc:spChg>
        <pc:spChg chg="del mod ord">
          <ac:chgData name="Florian Faller" userId="4e496f4204a626e3" providerId="LiveId" clId="{9A21812C-E53D-4018-A66F-CEBBCC2D158E}" dt="2025-04-24T08:17:40.655" v="14199" actId="478"/>
          <ac:spMkLst>
            <pc:docMk/>
            <pc:sldMk cId="2740457966" sldId="334"/>
            <ac:spMk id="25" creationId="{E140BF57-B6D5-82E3-F181-4417FD450D9A}"/>
          </ac:spMkLst>
        </pc:spChg>
        <pc:spChg chg="del mod ord">
          <ac:chgData name="Florian Faller" userId="4e496f4204a626e3" providerId="LiveId" clId="{9A21812C-E53D-4018-A66F-CEBBCC2D158E}" dt="2025-04-24T08:29:12.061" v="14813" actId="478"/>
          <ac:spMkLst>
            <pc:docMk/>
            <pc:sldMk cId="2740457966" sldId="334"/>
            <ac:spMk id="26" creationId="{57353920-7358-6914-79F7-D9E9CB3F1C6B}"/>
          </ac:spMkLst>
        </pc:spChg>
        <pc:spChg chg="add mod ord">
          <ac:chgData name="Florian Faller" userId="4e496f4204a626e3" providerId="LiveId" clId="{9A21812C-E53D-4018-A66F-CEBBCC2D158E}" dt="2025-04-24T08:20:11.078" v="14467" actId="113"/>
          <ac:spMkLst>
            <pc:docMk/>
            <pc:sldMk cId="2740457966" sldId="334"/>
            <ac:spMk id="27" creationId="{63C8DDD8-DCA2-2C7B-1FDD-E27DF177D5B9}"/>
          </ac:spMkLst>
        </pc:spChg>
        <pc:spChg chg="add mod">
          <ac:chgData name="Florian Faller" userId="4e496f4204a626e3" providerId="LiveId" clId="{9A21812C-E53D-4018-A66F-CEBBCC2D158E}" dt="2025-04-24T08:18:29.588" v="14225" actId="164"/>
          <ac:spMkLst>
            <pc:docMk/>
            <pc:sldMk cId="2740457966" sldId="334"/>
            <ac:spMk id="29" creationId="{A8C70323-A941-09A4-DA73-FF36B25CE5D9}"/>
          </ac:spMkLst>
        </pc:spChg>
        <pc:spChg chg="add mod">
          <ac:chgData name="Florian Faller" userId="4e496f4204a626e3" providerId="LiveId" clId="{9A21812C-E53D-4018-A66F-CEBBCC2D158E}" dt="2025-04-24T08:15:52.235" v="14081" actId="571"/>
          <ac:spMkLst>
            <pc:docMk/>
            <pc:sldMk cId="2740457966" sldId="334"/>
            <ac:spMk id="30" creationId="{018261FC-9029-5E64-3C82-F6F3B9003A80}"/>
          </ac:spMkLst>
        </pc:spChg>
        <pc:spChg chg="add del mod">
          <ac:chgData name="Florian Faller" userId="4e496f4204a626e3" providerId="LiveId" clId="{9A21812C-E53D-4018-A66F-CEBBCC2D158E}" dt="2025-04-24T08:17:42.089" v="14200" actId="478"/>
          <ac:spMkLst>
            <pc:docMk/>
            <pc:sldMk cId="2740457966" sldId="334"/>
            <ac:spMk id="32" creationId="{478EF31A-AECD-D9A7-CA78-2BE043B908F4}"/>
          </ac:spMkLst>
        </pc:spChg>
        <pc:spChg chg="add mod">
          <ac:chgData name="Florian Faller" userId="4e496f4204a626e3" providerId="LiveId" clId="{9A21812C-E53D-4018-A66F-CEBBCC2D158E}" dt="2025-04-24T08:18:29.588" v="14225" actId="164"/>
          <ac:spMkLst>
            <pc:docMk/>
            <pc:sldMk cId="2740457966" sldId="334"/>
            <ac:spMk id="33" creationId="{8756EDC9-853C-EAE0-0738-74970FC70700}"/>
          </ac:spMkLst>
        </pc:spChg>
        <pc:spChg chg="add del mod modVis">
          <ac:chgData name="Florian Faller" userId="4e496f4204a626e3" providerId="LiveId" clId="{9A21812C-E53D-4018-A66F-CEBBCC2D158E}" dt="2025-04-24T08:18:32.171" v="14297"/>
          <ac:spMkLst>
            <pc:docMk/>
            <pc:sldMk cId="2740457966" sldId="334"/>
            <ac:spMk id="35" creationId="{EB3D05D4-3E80-372E-A5F1-1FA26A8E8527}"/>
          </ac:spMkLst>
        </pc:spChg>
        <pc:spChg chg="add del mod modVis">
          <ac:chgData name="Florian Faller" userId="4e496f4204a626e3" providerId="LiveId" clId="{9A21812C-E53D-4018-A66F-CEBBCC2D158E}" dt="2025-04-24T08:20:15.077" v="14539"/>
          <ac:spMkLst>
            <pc:docMk/>
            <pc:sldMk cId="2740457966" sldId="334"/>
            <ac:spMk id="36" creationId="{16E55729-7CDA-B9FE-CC44-A0183BBDD793}"/>
          </ac:spMkLst>
        </pc:spChg>
        <pc:spChg chg="mod ord">
          <ac:chgData name="Florian Faller" userId="4e496f4204a626e3" providerId="LiveId" clId="{9A21812C-E53D-4018-A66F-CEBBCC2D158E}" dt="2025-04-24T09:19:41.394" v="16189"/>
          <ac:spMkLst>
            <pc:docMk/>
            <pc:sldMk cId="2740457966" sldId="334"/>
            <ac:spMk id="37" creationId="{A6D559DE-B719-B2F4-FD9D-125537980DF7}"/>
          </ac:spMkLst>
        </pc:spChg>
        <pc:spChg chg="add del mod modVis">
          <ac:chgData name="Florian Faller" userId="4e496f4204a626e3" providerId="LiveId" clId="{9A21812C-E53D-4018-A66F-CEBBCC2D158E}" dt="2025-04-24T08:29:07.243" v="14810"/>
          <ac:spMkLst>
            <pc:docMk/>
            <pc:sldMk cId="2740457966" sldId="334"/>
            <ac:spMk id="38" creationId="{124B9CEB-14BF-0DB1-FB61-C667E64AA737}"/>
          </ac:spMkLst>
        </pc:spChg>
        <pc:spChg chg="add del mod modVis">
          <ac:chgData name="Florian Faller" userId="4e496f4204a626e3" providerId="LiveId" clId="{9A21812C-E53D-4018-A66F-CEBBCC2D158E}" dt="2025-04-24T08:29:17.041" v="14841"/>
          <ac:spMkLst>
            <pc:docMk/>
            <pc:sldMk cId="2740457966" sldId="334"/>
            <ac:spMk id="39" creationId="{237E6845-0312-9FF3-CBD6-DD3D67FA4217}"/>
          </ac:spMkLst>
        </pc:spChg>
        <pc:spChg chg="add del mod modVis">
          <ac:chgData name="Florian Faller" userId="4e496f4204a626e3" providerId="LiveId" clId="{9A21812C-E53D-4018-A66F-CEBBCC2D158E}" dt="2025-04-24T08:29:18.797" v="14874"/>
          <ac:spMkLst>
            <pc:docMk/>
            <pc:sldMk cId="2740457966" sldId="334"/>
            <ac:spMk id="40" creationId="{1D7B6EAD-8B9C-BF5D-7374-CD9FE2A2EC0B}"/>
          </ac:spMkLst>
        </pc:spChg>
        <pc:spChg chg="add del mod modVis">
          <ac:chgData name="Florian Faller" userId="4e496f4204a626e3" providerId="LiveId" clId="{9A21812C-E53D-4018-A66F-CEBBCC2D158E}" dt="2025-04-24T08:29:32.614" v="14907"/>
          <ac:spMkLst>
            <pc:docMk/>
            <pc:sldMk cId="2740457966" sldId="334"/>
            <ac:spMk id="41" creationId="{2DED2778-F643-B42C-49C9-27839C8C38EC}"/>
          </ac:spMkLst>
        </pc:spChg>
        <pc:spChg chg="add del mod modVis">
          <ac:chgData name="Florian Faller" userId="4e496f4204a626e3" providerId="LiveId" clId="{9A21812C-E53D-4018-A66F-CEBBCC2D158E}" dt="2025-04-24T08:29:35.965" v="14934"/>
          <ac:spMkLst>
            <pc:docMk/>
            <pc:sldMk cId="2740457966" sldId="334"/>
            <ac:spMk id="42" creationId="{F5D1D47F-72D7-9914-4E7E-F1F62FB465BD}"/>
          </ac:spMkLst>
        </pc:spChg>
        <pc:spChg chg="add del mod">
          <ac:chgData name="Florian Faller" userId="4e496f4204a626e3" providerId="LiveId" clId="{9A21812C-E53D-4018-A66F-CEBBCC2D158E}" dt="2025-04-24T09:18:33.293" v="16147" actId="478"/>
          <ac:spMkLst>
            <pc:docMk/>
            <pc:sldMk cId="2740457966" sldId="334"/>
            <ac:spMk id="44" creationId="{77B4E5CB-76C1-04BB-5A03-F2FF34B1432A}"/>
          </ac:spMkLst>
        </pc:spChg>
        <pc:spChg chg="add del mod">
          <ac:chgData name="Florian Faller" userId="4e496f4204a626e3" providerId="LiveId" clId="{9A21812C-E53D-4018-A66F-CEBBCC2D158E}" dt="2025-04-24T09:18:33.293" v="16147" actId="478"/>
          <ac:spMkLst>
            <pc:docMk/>
            <pc:sldMk cId="2740457966" sldId="334"/>
            <ac:spMk id="46" creationId="{4E153D0D-FC2C-DB1F-B1D2-3C90E2031DA9}"/>
          </ac:spMkLst>
        </pc:spChg>
        <pc:spChg chg="add mod">
          <ac:chgData name="Florian Faller" userId="4e496f4204a626e3" providerId="LiveId" clId="{9A21812C-E53D-4018-A66F-CEBBCC2D158E}" dt="2025-04-24T09:19:08.790" v="16177" actId="164"/>
          <ac:spMkLst>
            <pc:docMk/>
            <pc:sldMk cId="2740457966" sldId="334"/>
            <ac:spMk id="47" creationId="{D9A77593-23C5-6A34-14F7-5CB9DC7C2238}"/>
          </ac:spMkLst>
        </pc:spChg>
        <pc:spChg chg="mod ord">
          <ac:chgData name="Florian Faller" userId="4e496f4204a626e3" providerId="LiveId" clId="{9A21812C-E53D-4018-A66F-CEBBCC2D158E}" dt="2025-04-24T09:19:41.385" v="16183"/>
          <ac:spMkLst>
            <pc:docMk/>
            <pc:sldMk cId="2740457966" sldId="334"/>
            <ac:spMk id="48" creationId="{0E1A297B-CD6C-546D-D993-57200BD2345A}"/>
          </ac:spMkLst>
        </pc:spChg>
        <pc:spChg chg="mod ord">
          <ac:chgData name="Florian Faller" userId="4e496f4204a626e3" providerId="LiveId" clId="{9A21812C-E53D-4018-A66F-CEBBCC2D158E}" dt="2025-04-24T09:19:41.389" v="16185"/>
          <ac:spMkLst>
            <pc:docMk/>
            <pc:sldMk cId="2740457966" sldId="334"/>
            <ac:spMk id="49" creationId="{51CE070E-9498-B2A3-0328-135A76CB1287}"/>
          </ac:spMkLst>
        </pc:spChg>
        <pc:spChg chg="mod ord">
          <ac:chgData name="Florian Faller" userId="4e496f4204a626e3" providerId="LiveId" clId="{9A21812C-E53D-4018-A66F-CEBBCC2D158E}" dt="2025-04-24T09:19:41.390" v="16187"/>
          <ac:spMkLst>
            <pc:docMk/>
            <pc:sldMk cId="2740457966" sldId="334"/>
            <ac:spMk id="50" creationId="{3F507834-0990-0C91-BE00-AAFDF5CF8086}"/>
          </ac:spMkLst>
        </pc:spChg>
        <pc:spChg chg="add del mod">
          <ac:chgData name="Florian Faller" userId="4e496f4204a626e3" providerId="LiveId" clId="{9A21812C-E53D-4018-A66F-CEBBCC2D158E}" dt="2025-04-24T09:19:24.282" v="16179" actId="478"/>
          <ac:spMkLst>
            <pc:docMk/>
            <pc:sldMk cId="2740457966" sldId="334"/>
            <ac:spMk id="52" creationId="{16ED2494-D791-C5EC-FECD-8BC0A12F1A19}"/>
          </ac:spMkLst>
        </pc:spChg>
        <pc:spChg chg="add del mod">
          <ac:chgData name="Florian Faller" userId="4e496f4204a626e3" providerId="LiveId" clId="{9A21812C-E53D-4018-A66F-CEBBCC2D158E}" dt="2025-04-24T09:19:04.814" v="16176" actId="478"/>
          <ac:spMkLst>
            <pc:docMk/>
            <pc:sldMk cId="2740457966" sldId="334"/>
            <ac:spMk id="54" creationId="{E1966AD9-9BA3-7C7C-BF09-F73E01B98E23}"/>
          </ac:spMkLst>
        </pc:spChg>
        <pc:spChg chg="add mod">
          <ac:chgData name="Florian Faller" userId="4e496f4204a626e3" providerId="LiveId" clId="{9A21812C-E53D-4018-A66F-CEBBCC2D158E}" dt="2025-04-24T09:19:08.790" v="16177" actId="164"/>
          <ac:spMkLst>
            <pc:docMk/>
            <pc:sldMk cId="2740457966" sldId="334"/>
            <ac:spMk id="55" creationId="{0935A740-E846-AF55-A03C-28D4A46588EE}"/>
          </ac:spMkLst>
        </pc:spChg>
        <pc:grpChg chg="add mod ord">
          <ac:chgData name="Florian Faller" userId="4e496f4204a626e3" providerId="LiveId" clId="{9A21812C-E53D-4018-A66F-CEBBCC2D158E}" dt="2025-04-24T09:19:41.404" v="16196"/>
          <ac:grpSpMkLst>
            <pc:docMk/>
            <pc:sldMk cId="2740457966" sldId="334"/>
            <ac:grpSpMk id="34" creationId="{5D79D2DF-22AD-4A31-679B-6BE4817AE801}"/>
          </ac:grpSpMkLst>
        </pc:grpChg>
        <pc:grpChg chg="mod">
          <ac:chgData name="Florian Faller" userId="4e496f4204a626e3" providerId="LiveId" clId="{9A21812C-E53D-4018-A66F-CEBBCC2D158E}" dt="2025-04-24T09:19:41.398" v="16194"/>
          <ac:grpSpMkLst>
            <pc:docMk/>
            <pc:sldMk cId="2740457966" sldId="334"/>
            <ac:grpSpMk id="56" creationId="{1183673D-824E-8A0A-D149-1A37F433EBE2}"/>
          </ac:grpSpMkLst>
        </pc:grpChg>
        <pc:graphicFrameChg chg="mod">
          <ac:chgData name="Florian Faller" userId="4e496f4204a626e3" providerId="LiveId" clId="{9A21812C-E53D-4018-A66F-CEBBCC2D158E}" dt="2025-04-24T09:19:41.406" v="16198"/>
          <ac:graphicFrameMkLst>
            <pc:docMk/>
            <pc:sldMk cId="2740457966" sldId="334"/>
            <ac:graphicFrameMk id="4" creationId="{AC4EFF68-4272-7DBF-44CF-69F908161F0C}"/>
          </ac:graphicFrameMkLst>
        </pc:graphicFrameChg>
        <pc:picChg chg="mod ord">
          <ac:chgData name="Florian Faller" userId="4e496f4204a626e3" providerId="LiveId" clId="{9A21812C-E53D-4018-A66F-CEBBCC2D158E}" dt="2025-04-24T09:19:08.790" v="16177" actId="164"/>
          <ac:picMkLst>
            <pc:docMk/>
            <pc:sldMk cId="2740457966" sldId="334"/>
            <ac:picMk id="2" creationId="{6ACBFE5E-269D-61AC-043B-1D817A76A6D5}"/>
          </ac:picMkLst>
        </pc:picChg>
        <pc:picChg chg="mod ord">
          <ac:chgData name="Florian Faller" userId="4e496f4204a626e3" providerId="LiveId" clId="{9A21812C-E53D-4018-A66F-CEBBCC2D158E}" dt="2025-04-24T09:18:18.035" v="16132"/>
          <ac:picMkLst>
            <pc:docMk/>
            <pc:sldMk cId="2740457966" sldId="334"/>
            <ac:picMk id="3" creationId="{CFAD2C47-F8FA-7B83-486F-98CD3F3E4CA2}"/>
          </ac:picMkLst>
        </pc:picChg>
        <pc:picChg chg="mod ord">
          <ac:chgData name="Florian Faller" userId="4e496f4204a626e3" providerId="LiveId" clId="{9A21812C-E53D-4018-A66F-CEBBCC2D158E}" dt="2025-04-24T09:18:18.049" v="16140"/>
          <ac:picMkLst>
            <pc:docMk/>
            <pc:sldMk cId="2740457966" sldId="334"/>
            <ac:picMk id="5" creationId="{C4681BC6-79C8-D7CC-0788-064086319F9B}"/>
          </ac:picMkLst>
        </pc:picChg>
        <pc:picChg chg="mod ord modCrop">
          <ac:chgData name="Florian Faller" userId="4e496f4204a626e3" providerId="LiveId" clId="{9A21812C-E53D-4018-A66F-CEBBCC2D158E}" dt="2025-04-24T09:19:08.790" v="16177" actId="164"/>
          <ac:picMkLst>
            <pc:docMk/>
            <pc:sldMk cId="2740457966" sldId="334"/>
            <ac:picMk id="7" creationId="{5A41E2EE-6B32-1096-B674-7EDA2264FA34}"/>
          </ac:picMkLst>
        </pc:picChg>
        <pc:picChg chg="mod ord">
          <ac:chgData name="Florian Faller" userId="4e496f4204a626e3" providerId="LiveId" clId="{9A21812C-E53D-4018-A66F-CEBBCC2D158E}" dt="2025-04-24T09:19:08.790" v="16177" actId="164"/>
          <ac:picMkLst>
            <pc:docMk/>
            <pc:sldMk cId="2740457966" sldId="334"/>
            <ac:picMk id="12" creationId="{3CA005E6-259D-33C0-7F49-56A1EA128B30}"/>
          </ac:picMkLst>
        </pc:picChg>
        <pc:picChg chg="mod ord">
          <ac:chgData name="Florian Faller" userId="4e496f4204a626e3" providerId="LiveId" clId="{9A21812C-E53D-4018-A66F-CEBBCC2D158E}" dt="2025-04-24T09:18:18.027" v="16122"/>
          <ac:picMkLst>
            <pc:docMk/>
            <pc:sldMk cId="2740457966" sldId="334"/>
            <ac:picMk id="14" creationId="{8BCA9E0A-7F31-8425-E1A6-EE9236F656D9}"/>
          </ac:picMkLst>
        </pc:picChg>
        <pc:picChg chg="mod ord">
          <ac:chgData name="Florian Faller" userId="4e496f4204a626e3" providerId="LiveId" clId="{9A21812C-E53D-4018-A66F-CEBBCC2D158E}" dt="2025-04-24T09:19:08.790" v="16177" actId="164"/>
          <ac:picMkLst>
            <pc:docMk/>
            <pc:sldMk cId="2740457966" sldId="334"/>
            <ac:picMk id="15" creationId="{CE56C3BF-4792-4240-20B5-2DBD12696639}"/>
          </ac:picMkLst>
        </pc:picChg>
        <pc:picChg chg="mod ord">
          <ac:chgData name="Florian Faller" userId="4e496f4204a626e3" providerId="LiveId" clId="{9A21812C-E53D-4018-A66F-CEBBCC2D158E}" dt="2025-04-24T09:18:18.035" v="16126"/>
          <ac:picMkLst>
            <pc:docMk/>
            <pc:sldMk cId="2740457966" sldId="334"/>
            <ac:picMk id="20" creationId="{E9F8FE05-A711-CFBE-2059-100509DBDCF4}"/>
          </ac:picMkLst>
        </pc:picChg>
        <pc:picChg chg="mod ord">
          <ac:chgData name="Florian Faller" userId="4e496f4204a626e3" providerId="LiveId" clId="{9A21812C-E53D-4018-A66F-CEBBCC2D158E}" dt="2025-04-24T09:19:08.790" v="16177" actId="164"/>
          <ac:picMkLst>
            <pc:docMk/>
            <pc:sldMk cId="2740457966" sldId="334"/>
            <ac:picMk id="21" creationId="{48DCFD44-F917-8BFD-3FE3-39EB1B6DE62F}"/>
          </ac:picMkLst>
        </pc:picChg>
        <pc:picChg chg="mod ord">
          <ac:chgData name="Florian Faller" userId="4e496f4204a626e3" providerId="LiveId" clId="{9A21812C-E53D-4018-A66F-CEBBCC2D158E}" dt="2025-04-24T09:18:18.047" v="16138"/>
          <ac:picMkLst>
            <pc:docMk/>
            <pc:sldMk cId="2740457966" sldId="334"/>
            <ac:picMk id="23" creationId="{11DC3623-CC26-9CFE-C950-587341042B60}"/>
          </ac:picMkLst>
        </pc:picChg>
        <pc:picChg chg="mod ord">
          <ac:chgData name="Florian Faller" userId="4e496f4204a626e3" providerId="LiveId" clId="{9A21812C-E53D-4018-A66F-CEBBCC2D158E}" dt="2025-04-24T09:18:18.051" v="16142"/>
          <ac:picMkLst>
            <pc:docMk/>
            <pc:sldMk cId="2740457966" sldId="334"/>
            <ac:picMk id="24" creationId="{39B08DA1-25CB-6780-51A9-CDA2FD6F19A1}"/>
          </ac:picMkLst>
        </pc:picChg>
        <pc:picChg chg="add mod">
          <ac:chgData name="Florian Faller" userId="4e496f4204a626e3" providerId="LiveId" clId="{9A21812C-E53D-4018-A66F-CEBBCC2D158E}" dt="2025-04-24T09:19:08.790" v="16177" actId="164"/>
          <ac:picMkLst>
            <pc:docMk/>
            <pc:sldMk cId="2740457966" sldId="334"/>
            <ac:picMk id="2050" creationId="{F04AD447-EBBD-E4EE-FE0B-62C2213EF470}"/>
          </ac:picMkLst>
        </pc:picChg>
        <pc:cxnChg chg="add del mod">
          <ac:chgData name="Florian Faller" userId="4e496f4204a626e3" providerId="LiveId" clId="{9A21812C-E53D-4018-A66F-CEBBCC2D158E}" dt="2025-04-24T07:54:06.456" v="13540" actId="478"/>
          <ac:cxnSpMkLst>
            <pc:docMk/>
            <pc:sldMk cId="2740457966" sldId="334"/>
            <ac:cxnSpMk id="6" creationId="{BE29F7F0-E8A2-3193-70C0-5B871588E586}"/>
          </ac:cxnSpMkLst>
        </pc:cxnChg>
        <pc:cxnChg chg="add mod ord">
          <ac:chgData name="Florian Faller" userId="4e496f4204a626e3" providerId="LiveId" clId="{9A21812C-E53D-4018-A66F-CEBBCC2D158E}" dt="2025-04-24T09:18:18.023" v="16116"/>
          <ac:cxnSpMkLst>
            <pc:docMk/>
            <pc:sldMk cId="2740457966" sldId="334"/>
            <ac:cxnSpMk id="11" creationId="{71EB29E9-122A-BC4E-AFD6-AD4F67A28FDD}"/>
          </ac:cxnSpMkLst>
        </pc:cxnChg>
        <pc:cxnChg chg="del mod ord">
          <ac:chgData name="Florian Faller" userId="4e496f4204a626e3" providerId="LiveId" clId="{9A21812C-E53D-4018-A66F-CEBBCC2D158E}" dt="2025-04-24T07:55:50.590" v="13733" actId="478"/>
          <ac:cxnSpMkLst>
            <pc:docMk/>
            <pc:sldMk cId="2740457966" sldId="334"/>
            <ac:cxnSpMk id="16" creationId="{D3F7206D-E4C8-D44F-D169-8959FEEA8F9F}"/>
          </ac:cxnSpMkLst>
        </pc:cxnChg>
      </pc:sldChg>
      <pc:sldChg chg="addSp delSp modSp new mod setBg modAnim">
        <pc:chgData name="Florian Faller" userId="4e496f4204a626e3" providerId="LiveId" clId="{9A21812C-E53D-4018-A66F-CEBBCC2D158E}" dt="2025-04-24T09:29:37.267" v="16342"/>
        <pc:sldMkLst>
          <pc:docMk/>
          <pc:sldMk cId="613357866" sldId="335"/>
        </pc:sldMkLst>
        <pc:spChg chg="mod ord">
          <ac:chgData name="Florian Faller" userId="4e496f4204a626e3" providerId="LiveId" clId="{9A21812C-E53D-4018-A66F-CEBBCC2D158E}" dt="2025-04-24T08:52:43.451" v="15644"/>
          <ac:spMkLst>
            <pc:docMk/>
            <pc:sldMk cId="613357866" sldId="335"/>
            <ac:spMk id="2" creationId="{41901CDB-0D34-A1A3-7A20-6385B3CF3A5C}"/>
          </ac:spMkLst>
        </pc:spChg>
        <pc:spChg chg="mod ord">
          <ac:chgData name="Florian Faller" userId="4e496f4204a626e3" providerId="LiveId" clId="{9A21812C-E53D-4018-A66F-CEBBCC2D158E}" dt="2025-04-24T08:52:43.455" v="15646"/>
          <ac:spMkLst>
            <pc:docMk/>
            <pc:sldMk cId="613357866" sldId="335"/>
            <ac:spMk id="3" creationId="{E57C21AB-AEFC-C88F-F600-8C6EDFB32C3B}"/>
          </ac:spMkLst>
        </pc:spChg>
        <pc:spChg chg="mod ord">
          <ac:chgData name="Florian Faller" userId="4e496f4204a626e3" providerId="LiveId" clId="{9A21812C-E53D-4018-A66F-CEBBCC2D158E}" dt="2025-04-24T08:52:43.457" v="15648"/>
          <ac:spMkLst>
            <pc:docMk/>
            <pc:sldMk cId="613357866" sldId="335"/>
            <ac:spMk id="4" creationId="{EA4700BC-9098-54A1-42B7-2267C23DA841}"/>
          </ac:spMkLst>
        </pc:spChg>
        <pc:spChg chg="add mod ord">
          <ac:chgData name="Florian Faller" userId="4e496f4204a626e3" providerId="LiveId" clId="{9A21812C-E53D-4018-A66F-CEBBCC2D158E}" dt="2025-04-24T08:57:55.372" v="16004" actId="947"/>
          <ac:spMkLst>
            <pc:docMk/>
            <pc:sldMk cId="613357866" sldId="335"/>
            <ac:spMk id="5" creationId="{C9674510-0469-C73E-0C75-C3082C4175DA}"/>
          </ac:spMkLst>
        </pc:spChg>
        <pc:spChg chg="add mod ord">
          <ac:chgData name="Florian Faller" userId="4e496f4204a626e3" providerId="LiveId" clId="{9A21812C-E53D-4018-A66F-CEBBCC2D158E}" dt="2025-04-24T08:52:43.465" v="15654"/>
          <ac:spMkLst>
            <pc:docMk/>
            <pc:sldMk cId="613357866" sldId="335"/>
            <ac:spMk id="6" creationId="{819FE54A-6553-E212-7956-8E1824AC5CD0}"/>
          </ac:spMkLst>
        </pc:spChg>
        <pc:spChg chg="add mod ord">
          <ac:chgData name="Florian Faller" userId="4e496f4204a626e3" providerId="LiveId" clId="{9A21812C-E53D-4018-A66F-CEBBCC2D158E}" dt="2025-04-24T09:28:47.462" v="16327" actId="164"/>
          <ac:spMkLst>
            <pc:docMk/>
            <pc:sldMk cId="613357866" sldId="335"/>
            <ac:spMk id="7" creationId="{844F2E14-BFA0-E248-ED2D-DB9836901FD6}"/>
          </ac:spMkLst>
        </pc:spChg>
        <pc:spChg chg="add mod ord">
          <ac:chgData name="Florian Faller" userId="4e496f4204a626e3" providerId="LiveId" clId="{9A21812C-E53D-4018-A66F-CEBBCC2D158E}" dt="2025-04-24T09:28:47.462" v="16327" actId="164"/>
          <ac:spMkLst>
            <pc:docMk/>
            <pc:sldMk cId="613357866" sldId="335"/>
            <ac:spMk id="8" creationId="{FBEEF7C9-F471-2609-7437-B3DB478F5227}"/>
          </ac:spMkLst>
        </pc:spChg>
        <pc:spChg chg="add mod ord">
          <ac:chgData name="Florian Faller" userId="4e496f4204a626e3" providerId="LiveId" clId="{9A21812C-E53D-4018-A66F-CEBBCC2D158E}" dt="2025-04-24T09:28:47.462" v="16327" actId="164"/>
          <ac:spMkLst>
            <pc:docMk/>
            <pc:sldMk cId="613357866" sldId="335"/>
            <ac:spMk id="9" creationId="{94FEBF3D-0885-6391-36DE-5DCDE1899CE2}"/>
          </ac:spMkLst>
        </pc:spChg>
        <pc:spChg chg="add mod ord">
          <ac:chgData name="Florian Faller" userId="4e496f4204a626e3" providerId="LiveId" clId="{9A21812C-E53D-4018-A66F-CEBBCC2D158E}" dt="2025-04-24T09:28:47.462" v="16327" actId="164"/>
          <ac:spMkLst>
            <pc:docMk/>
            <pc:sldMk cId="613357866" sldId="335"/>
            <ac:spMk id="10" creationId="{CCF8B0DC-89AB-0022-CDA1-7387990851A5}"/>
          </ac:spMkLst>
        </pc:spChg>
        <pc:spChg chg="add mod ord">
          <ac:chgData name="Florian Faller" userId="4e496f4204a626e3" providerId="LiveId" clId="{9A21812C-E53D-4018-A66F-CEBBCC2D158E}" dt="2025-04-24T09:28:47.462" v="16327" actId="164"/>
          <ac:spMkLst>
            <pc:docMk/>
            <pc:sldMk cId="613357866" sldId="335"/>
            <ac:spMk id="11" creationId="{28BCBC50-D438-32D1-D904-F82DA4B9EFD4}"/>
          </ac:spMkLst>
        </pc:spChg>
        <pc:spChg chg="add del mod">
          <ac:chgData name="Florian Faller" userId="4e496f4204a626e3" providerId="LiveId" clId="{9A21812C-E53D-4018-A66F-CEBBCC2D158E}" dt="2025-04-24T08:33:48.926" v="15014" actId="478"/>
          <ac:spMkLst>
            <pc:docMk/>
            <pc:sldMk cId="613357866" sldId="335"/>
            <ac:spMk id="12" creationId="{180558CE-26C8-83B1-10BA-75C9994CC8A9}"/>
          </ac:spMkLst>
        </pc:spChg>
        <pc:spChg chg="add del mod">
          <ac:chgData name="Florian Faller" userId="4e496f4204a626e3" providerId="LiveId" clId="{9A21812C-E53D-4018-A66F-CEBBCC2D158E}" dt="2025-04-24T08:35:58.949" v="15102"/>
          <ac:spMkLst>
            <pc:docMk/>
            <pc:sldMk cId="613357866" sldId="335"/>
            <ac:spMk id="23" creationId="{59A31DB4-A409-0C83-322C-34EE4E1A7DCE}"/>
          </ac:spMkLst>
        </pc:spChg>
        <pc:spChg chg="add mod ord">
          <ac:chgData name="Florian Faller" userId="4e496f4204a626e3" providerId="LiveId" clId="{9A21812C-E53D-4018-A66F-CEBBCC2D158E}" dt="2025-04-24T08:55:00.863" v="15758" actId="20577"/>
          <ac:spMkLst>
            <pc:docMk/>
            <pc:sldMk cId="613357866" sldId="335"/>
            <ac:spMk id="24" creationId="{BD7FC31C-4020-280C-6E97-2C7C0DA2D9BC}"/>
          </ac:spMkLst>
        </pc:spChg>
        <pc:spChg chg="add mod ord">
          <ac:chgData name="Florian Faller" userId="4e496f4204a626e3" providerId="LiveId" clId="{9A21812C-E53D-4018-A66F-CEBBCC2D158E}" dt="2025-04-24T09:16:06.185" v="16081" actId="1076"/>
          <ac:spMkLst>
            <pc:docMk/>
            <pc:sldMk cId="613357866" sldId="335"/>
            <ac:spMk id="25" creationId="{35EE3D69-2357-D13E-DA9F-1FD491029106}"/>
          </ac:spMkLst>
        </pc:spChg>
        <pc:spChg chg="add mod">
          <ac:chgData name="Florian Faller" userId="4e496f4204a626e3" providerId="LiveId" clId="{9A21812C-E53D-4018-A66F-CEBBCC2D158E}" dt="2025-04-24T08:45:10.200" v="15231" actId="571"/>
          <ac:spMkLst>
            <pc:docMk/>
            <pc:sldMk cId="613357866" sldId="335"/>
            <ac:spMk id="26" creationId="{40765E5B-B072-029D-D46A-754852676F96}"/>
          </ac:spMkLst>
        </pc:spChg>
        <pc:spChg chg="add mod ord">
          <ac:chgData name="Florian Faller" userId="4e496f4204a626e3" providerId="LiveId" clId="{9A21812C-E53D-4018-A66F-CEBBCC2D158E}" dt="2025-04-24T09:28:47.462" v="16327" actId="164"/>
          <ac:spMkLst>
            <pc:docMk/>
            <pc:sldMk cId="613357866" sldId="335"/>
            <ac:spMk id="27" creationId="{F3286461-4116-38DA-D21F-CA2A4B9638F9}"/>
          </ac:spMkLst>
        </pc:spChg>
        <pc:spChg chg="add mod ord">
          <ac:chgData name="Florian Faller" userId="4e496f4204a626e3" providerId="LiveId" clId="{9A21812C-E53D-4018-A66F-CEBBCC2D158E}" dt="2025-04-24T09:15:51.986" v="16076" actId="1076"/>
          <ac:spMkLst>
            <pc:docMk/>
            <pc:sldMk cId="613357866" sldId="335"/>
            <ac:spMk id="28" creationId="{D1C2D2BE-5D36-B8A1-BEB1-C08FDF67FA16}"/>
          </ac:spMkLst>
        </pc:spChg>
        <pc:spChg chg="add mod ord">
          <ac:chgData name="Florian Faller" userId="4e496f4204a626e3" providerId="LiveId" clId="{9A21812C-E53D-4018-A66F-CEBBCC2D158E}" dt="2025-04-24T09:28:47.462" v="16327" actId="164"/>
          <ac:spMkLst>
            <pc:docMk/>
            <pc:sldMk cId="613357866" sldId="335"/>
            <ac:spMk id="29" creationId="{458D0706-E23E-4E7B-8E90-F4C08AEC7CC4}"/>
          </ac:spMkLst>
        </pc:spChg>
        <pc:spChg chg="add mod ord">
          <ac:chgData name="Florian Faller" userId="4e496f4204a626e3" providerId="LiveId" clId="{9A21812C-E53D-4018-A66F-CEBBCC2D158E}" dt="2025-04-24T08:52:43.499" v="15686"/>
          <ac:spMkLst>
            <pc:docMk/>
            <pc:sldMk cId="613357866" sldId="335"/>
            <ac:spMk id="30" creationId="{44C82DAB-9EE8-9A1A-B211-505EB8A57233}"/>
          </ac:spMkLst>
        </pc:spChg>
        <pc:spChg chg="add mod ord">
          <ac:chgData name="Florian Faller" userId="4e496f4204a626e3" providerId="LiveId" clId="{9A21812C-E53D-4018-A66F-CEBBCC2D158E}" dt="2025-04-24T09:28:47.462" v="16327" actId="164"/>
          <ac:spMkLst>
            <pc:docMk/>
            <pc:sldMk cId="613357866" sldId="335"/>
            <ac:spMk id="31" creationId="{BDD9E59C-833D-C8BC-5645-DCE2BDB09FE8}"/>
          </ac:spMkLst>
        </pc:spChg>
        <pc:spChg chg="add mod ord">
          <ac:chgData name="Florian Faller" userId="4e496f4204a626e3" providerId="LiveId" clId="{9A21812C-E53D-4018-A66F-CEBBCC2D158E}" dt="2025-04-24T09:15:28.042" v="16073" actId="14100"/>
          <ac:spMkLst>
            <pc:docMk/>
            <pc:sldMk cId="613357866" sldId="335"/>
            <ac:spMk id="32" creationId="{6B753F03-DED0-979F-1A13-017E37129A13}"/>
          </ac:spMkLst>
        </pc:spChg>
        <pc:spChg chg="add mod">
          <ac:chgData name="Florian Faller" userId="4e496f4204a626e3" providerId="LiveId" clId="{9A21812C-E53D-4018-A66F-CEBBCC2D158E}" dt="2025-04-24T08:50:36.300" v="15457" actId="571"/>
          <ac:spMkLst>
            <pc:docMk/>
            <pc:sldMk cId="613357866" sldId="335"/>
            <ac:spMk id="33" creationId="{6B80CC65-9A70-386A-0A1F-ED06F8754AC0}"/>
          </ac:spMkLst>
        </pc:spChg>
        <pc:spChg chg="add mod">
          <ac:chgData name="Florian Faller" userId="4e496f4204a626e3" providerId="LiveId" clId="{9A21812C-E53D-4018-A66F-CEBBCC2D158E}" dt="2025-04-24T08:50:36.300" v="15457" actId="571"/>
          <ac:spMkLst>
            <pc:docMk/>
            <pc:sldMk cId="613357866" sldId="335"/>
            <ac:spMk id="34" creationId="{25984A5E-FFA3-32D6-0E51-7E947049FA49}"/>
          </ac:spMkLst>
        </pc:spChg>
        <pc:spChg chg="add mod ord">
          <ac:chgData name="Florian Faller" userId="4e496f4204a626e3" providerId="LiveId" clId="{9A21812C-E53D-4018-A66F-CEBBCC2D158E}" dt="2025-04-24T09:28:47.462" v="16327" actId="164"/>
          <ac:spMkLst>
            <pc:docMk/>
            <pc:sldMk cId="613357866" sldId="335"/>
            <ac:spMk id="35" creationId="{BD89DAAA-2033-9536-DD78-FD8EE598CF2F}"/>
          </ac:spMkLst>
        </pc:spChg>
        <pc:spChg chg="add mod ord">
          <ac:chgData name="Florian Faller" userId="4e496f4204a626e3" providerId="LiveId" clId="{9A21812C-E53D-4018-A66F-CEBBCC2D158E}" dt="2025-04-24T09:29:19.483" v="16340" actId="6549"/>
          <ac:spMkLst>
            <pc:docMk/>
            <pc:sldMk cId="613357866" sldId="335"/>
            <ac:spMk id="36" creationId="{366A0BE3-083E-77C4-D237-CED4C1D061BE}"/>
          </ac:spMkLst>
        </pc:spChg>
        <pc:spChg chg="add del mod ord">
          <ac:chgData name="Florian Faller" userId="4e496f4204a626e3" providerId="LiveId" clId="{9A21812C-E53D-4018-A66F-CEBBCC2D158E}" dt="2025-04-24T09:29:33.430" v="16341" actId="478"/>
          <ac:spMkLst>
            <pc:docMk/>
            <pc:sldMk cId="613357866" sldId="335"/>
            <ac:spMk id="39" creationId="{43504D03-C32D-B5F4-8379-445290487660}"/>
          </ac:spMkLst>
        </pc:spChg>
        <pc:spChg chg="add del mod">
          <ac:chgData name="Florian Faller" userId="4e496f4204a626e3" providerId="LiveId" clId="{9A21812C-E53D-4018-A66F-CEBBCC2D158E}" dt="2025-04-24T08:54:21.214" v="15723" actId="478"/>
          <ac:spMkLst>
            <pc:docMk/>
            <pc:sldMk cId="613357866" sldId="335"/>
            <ac:spMk id="40" creationId="{6B4ABA4D-73D3-AF72-D119-34A2514EFEBB}"/>
          </ac:spMkLst>
        </pc:spChg>
        <pc:spChg chg="add del mod">
          <ac:chgData name="Florian Faller" userId="4e496f4204a626e3" providerId="LiveId" clId="{9A21812C-E53D-4018-A66F-CEBBCC2D158E}" dt="2025-04-24T08:54:23.671" v="15724" actId="478"/>
          <ac:spMkLst>
            <pc:docMk/>
            <pc:sldMk cId="613357866" sldId="335"/>
            <ac:spMk id="41" creationId="{C2E246E0-D2BF-B865-4A4E-EAC10C988A2E}"/>
          </ac:spMkLst>
        </pc:spChg>
        <pc:graphicFrameChg chg="add mod ord modVis">
          <ac:chgData name="Florian Faller" userId="4e496f4204a626e3" providerId="LiveId" clId="{9A21812C-E53D-4018-A66F-CEBBCC2D158E}" dt="2025-04-24T08:52:43.526" v="15696"/>
          <ac:graphicFrameMkLst>
            <pc:docMk/>
            <pc:sldMk cId="613357866" sldId="335"/>
            <ac:graphicFrameMk id="15" creationId="{A62FE010-38E8-44E7-1FD1-7053C67F7A50}"/>
          </ac:graphicFrameMkLst>
        </pc:graphicFrameChg>
        <pc:cxnChg chg="add mod ord">
          <ac:chgData name="Florian Faller" userId="4e496f4204a626e3" providerId="LiveId" clId="{9A21812C-E53D-4018-A66F-CEBBCC2D158E}" dt="2025-04-24T08:52:43.449" v="15642"/>
          <ac:cxnSpMkLst>
            <pc:docMk/>
            <pc:sldMk cId="613357866" sldId="335"/>
            <ac:cxnSpMk id="14" creationId="{02961A02-1B28-B6D7-1B2C-7044D21B5ADD}"/>
          </ac:cxnSpMkLst>
        </pc:cxnChg>
        <pc:cxnChg chg="add mod ord">
          <ac:chgData name="Florian Faller" userId="4e496f4204a626e3" providerId="LiveId" clId="{9A21812C-E53D-4018-A66F-CEBBCC2D158E}" dt="2025-04-24T08:52:43.481" v="15666"/>
          <ac:cxnSpMkLst>
            <pc:docMk/>
            <pc:sldMk cId="613357866" sldId="335"/>
            <ac:cxnSpMk id="18" creationId="{35F0EC03-45C7-715C-A046-459082245C20}"/>
          </ac:cxnSpMkLst>
        </pc:cxnChg>
        <pc:cxnChg chg="add mod ord">
          <ac:chgData name="Florian Faller" userId="4e496f4204a626e3" providerId="LiveId" clId="{9A21812C-E53D-4018-A66F-CEBBCC2D158E}" dt="2025-04-24T08:52:43.483" v="15668"/>
          <ac:cxnSpMkLst>
            <pc:docMk/>
            <pc:sldMk cId="613357866" sldId="335"/>
            <ac:cxnSpMk id="19" creationId="{F8DCCEEF-FC1F-0189-886B-04590F68DC55}"/>
          </ac:cxnSpMkLst>
        </pc:cxnChg>
        <pc:cxnChg chg="add mod ord">
          <ac:chgData name="Florian Faller" userId="4e496f4204a626e3" providerId="LiveId" clId="{9A21812C-E53D-4018-A66F-CEBBCC2D158E}" dt="2025-04-24T09:16:45.544" v="16087" actId="14100"/>
          <ac:cxnSpMkLst>
            <pc:docMk/>
            <pc:sldMk cId="613357866" sldId="335"/>
            <ac:cxnSpMk id="20" creationId="{CC087D60-7D72-FE01-D937-EF8E1732C588}"/>
          </ac:cxnSpMkLst>
        </pc:cxnChg>
        <pc:cxnChg chg="add mod ord">
          <ac:chgData name="Florian Faller" userId="4e496f4204a626e3" providerId="LiveId" clId="{9A21812C-E53D-4018-A66F-CEBBCC2D158E}" dt="2025-04-24T08:52:43.487" v="15672"/>
          <ac:cxnSpMkLst>
            <pc:docMk/>
            <pc:sldMk cId="613357866" sldId="335"/>
            <ac:cxnSpMk id="21" creationId="{F26F3293-035C-E5D7-ED8E-2F763A6E909D}"/>
          </ac:cxnSpMkLst>
        </pc:cxnChg>
        <pc:cxnChg chg="add mod ord">
          <ac:chgData name="Florian Faller" userId="4e496f4204a626e3" providerId="LiveId" clId="{9A21812C-E53D-4018-A66F-CEBBCC2D158E}" dt="2025-04-24T08:52:43.489" v="15674"/>
          <ac:cxnSpMkLst>
            <pc:docMk/>
            <pc:sldMk cId="613357866" sldId="335"/>
            <ac:cxnSpMk id="22" creationId="{F0973573-7C84-0344-6B0C-DA1520793B8A}"/>
          </ac:cxnSpMkLst>
        </pc:cxnChg>
        <pc:cxnChg chg="add mod ord">
          <ac:chgData name="Florian Faller" userId="4e496f4204a626e3" providerId="LiveId" clId="{9A21812C-E53D-4018-A66F-CEBBCC2D158E}" dt="2025-04-24T08:54:32.144" v="15726" actId="692"/>
          <ac:cxnSpMkLst>
            <pc:docMk/>
            <pc:sldMk cId="613357866" sldId="335"/>
            <ac:cxnSpMk id="38" creationId="{40186471-6B80-AD0C-A177-A1E5563EE563}"/>
          </ac:cxnSpMkLst>
        </pc:cxnChg>
        <pc:cxnChg chg="add mod">
          <ac:chgData name="Florian Faller" userId="4e496f4204a626e3" providerId="LiveId" clId="{9A21812C-E53D-4018-A66F-CEBBCC2D158E}" dt="2025-04-24T09:16:36.524" v="16086" actId="14100"/>
          <ac:cxnSpMkLst>
            <pc:docMk/>
            <pc:sldMk cId="613357866" sldId="335"/>
            <ac:cxnSpMk id="43" creationId="{5DD12F9F-AC24-15F5-EDFD-96AB139FE759}"/>
          </ac:cxnSpMkLst>
        </pc:cxnChg>
        <pc:cxnChg chg="add mod">
          <ac:chgData name="Florian Faller" userId="4e496f4204a626e3" providerId="LiveId" clId="{9A21812C-E53D-4018-A66F-CEBBCC2D158E}" dt="2025-04-24T09:16:14.561" v="16083" actId="14100"/>
          <ac:cxnSpMkLst>
            <pc:docMk/>
            <pc:sldMk cId="613357866" sldId="335"/>
            <ac:cxnSpMk id="45" creationId="{1E393274-8F6C-AFE5-30EB-BD9179722447}"/>
          </ac:cxnSpMkLst>
        </pc:cxnChg>
      </pc:sldChg>
      <pc:sldChg chg="new del">
        <pc:chgData name="Florian Faller" userId="4e496f4204a626e3" providerId="LiveId" clId="{9A21812C-E53D-4018-A66F-CEBBCC2D158E}" dt="2025-04-24T08:23:03.777" v="14663" actId="47"/>
        <pc:sldMkLst>
          <pc:docMk/>
          <pc:sldMk cId="4032847316" sldId="335"/>
        </pc:sldMkLst>
      </pc:sldChg>
      <pc:sldChg chg="delSp modSp add mod delAnim">
        <pc:chgData name="Florian Faller" userId="4e496f4204a626e3" providerId="LiveId" clId="{9A21812C-E53D-4018-A66F-CEBBCC2D158E}" dt="2025-04-24T08:36:07.629" v="15108" actId="20577"/>
        <pc:sldMkLst>
          <pc:docMk/>
          <pc:sldMk cId="3441207129" sldId="336"/>
        </pc:sldMkLst>
        <pc:spChg chg="mod">
          <ac:chgData name="Florian Faller" userId="4e496f4204a626e3" providerId="LiveId" clId="{9A21812C-E53D-4018-A66F-CEBBCC2D158E}" dt="2025-04-24T08:36:07.629" v="15108" actId="20577"/>
          <ac:spMkLst>
            <pc:docMk/>
            <pc:sldMk cId="3441207129" sldId="336"/>
            <ac:spMk id="3" creationId="{A069D546-09B9-84C7-9BD7-636F3F9BDDB8}"/>
          </ac:spMkLst>
        </pc:spChg>
        <pc:grpChg chg="del">
          <ac:chgData name="Florian Faller" userId="4e496f4204a626e3" providerId="LiveId" clId="{9A21812C-E53D-4018-A66F-CEBBCC2D158E}" dt="2025-04-24T08:36:04.459" v="15104" actId="478"/>
          <ac:grpSpMkLst>
            <pc:docMk/>
            <pc:sldMk cId="3441207129" sldId="336"/>
            <ac:grpSpMk id="37" creationId="{6C2F8551-CEF1-82EB-D016-0CDBC090447B}"/>
          </ac:grpSpMkLst>
        </pc:grpChg>
        <pc:grpChg chg="del">
          <ac:chgData name="Florian Faller" userId="4e496f4204a626e3" providerId="LiveId" clId="{9A21812C-E53D-4018-A66F-CEBBCC2D158E}" dt="2025-04-24T08:36:04.459" v="15104" actId="478"/>
          <ac:grpSpMkLst>
            <pc:docMk/>
            <pc:sldMk cId="3441207129" sldId="336"/>
            <ac:grpSpMk id="38" creationId="{8BEB6991-C1F4-8F91-EA7B-70E57EF182C0}"/>
          </ac:grpSpMkLst>
        </pc:grpChg>
        <pc:grpChg chg="del">
          <ac:chgData name="Florian Faller" userId="4e496f4204a626e3" providerId="LiveId" clId="{9A21812C-E53D-4018-A66F-CEBBCC2D158E}" dt="2025-04-24T08:36:04.459" v="15104" actId="478"/>
          <ac:grpSpMkLst>
            <pc:docMk/>
            <pc:sldMk cId="3441207129" sldId="336"/>
            <ac:grpSpMk id="39" creationId="{645DEB12-7507-E8EC-7897-B490935D6463}"/>
          </ac:grpSpMkLst>
        </pc:grpChg>
      </pc:sldChg>
      <pc:sldChg chg="addSp delSp modSp mod ord modAnim">
        <pc:chgData name="Florian Faller" userId="4e496f4204a626e3" providerId="LiveId" clId="{9A21812C-E53D-4018-A66F-CEBBCC2D158E}" dt="2025-04-24T09:25:42.307" v="16231" actId="20577"/>
        <pc:sldMkLst>
          <pc:docMk/>
          <pc:sldMk cId="3130959713" sldId="337"/>
        </pc:sldMkLst>
        <pc:spChg chg="mod">
          <ac:chgData name="Florian Faller" userId="4e496f4204a626e3" providerId="LiveId" clId="{9A21812C-E53D-4018-A66F-CEBBCC2D158E}" dt="2025-04-24T09:25:42.307" v="16231" actId="20577"/>
          <ac:spMkLst>
            <pc:docMk/>
            <pc:sldMk cId="3130959713" sldId="337"/>
            <ac:spMk id="3" creationId="{783E7AFD-5801-C282-247D-05336ABF0FD0}"/>
          </ac:spMkLst>
        </pc:spChg>
        <pc:spChg chg="mod">
          <ac:chgData name="Florian Faller" userId="4e496f4204a626e3" providerId="LiveId" clId="{9A21812C-E53D-4018-A66F-CEBBCC2D158E}" dt="2025-04-24T09:24:03.326" v="16217" actId="164"/>
          <ac:spMkLst>
            <pc:docMk/>
            <pc:sldMk cId="3130959713" sldId="337"/>
            <ac:spMk id="4" creationId="{521AB45A-AFE1-7C24-4307-F23385BB8733}"/>
          </ac:spMkLst>
        </pc:spChg>
        <pc:spChg chg="mod">
          <ac:chgData name="Florian Faller" userId="4e496f4204a626e3" providerId="LiveId" clId="{9A21812C-E53D-4018-A66F-CEBBCC2D158E}" dt="2025-04-24T09:23:44.515" v="16212" actId="165"/>
          <ac:spMkLst>
            <pc:docMk/>
            <pc:sldMk cId="3130959713" sldId="337"/>
            <ac:spMk id="9" creationId="{63F865C5-4E7C-FEE7-E559-87526FE7BDFD}"/>
          </ac:spMkLst>
        </pc:spChg>
        <pc:spChg chg="mod topLvl">
          <ac:chgData name="Florian Faller" userId="4e496f4204a626e3" providerId="LiveId" clId="{9A21812C-E53D-4018-A66F-CEBBCC2D158E}" dt="2025-04-24T09:23:50.471" v="16214" actId="164"/>
          <ac:spMkLst>
            <pc:docMk/>
            <pc:sldMk cId="3130959713" sldId="337"/>
            <ac:spMk id="10" creationId="{B37773DD-49A3-998F-B174-49BF71B3DC2C}"/>
          </ac:spMkLst>
        </pc:spChg>
        <pc:spChg chg="mod topLvl">
          <ac:chgData name="Florian Faller" userId="4e496f4204a626e3" providerId="LiveId" clId="{9A21812C-E53D-4018-A66F-CEBBCC2D158E}" dt="2025-04-24T09:23:48.388" v="16213" actId="164"/>
          <ac:spMkLst>
            <pc:docMk/>
            <pc:sldMk cId="3130959713" sldId="337"/>
            <ac:spMk id="14" creationId="{838FF792-62D8-76FE-9228-EB2D8F1B8C4B}"/>
          </ac:spMkLst>
        </pc:spChg>
        <pc:spChg chg="mod">
          <ac:chgData name="Florian Faller" userId="4e496f4204a626e3" providerId="LiveId" clId="{9A21812C-E53D-4018-A66F-CEBBCC2D158E}" dt="2025-04-24T09:23:48.388" v="16213" actId="164"/>
          <ac:spMkLst>
            <pc:docMk/>
            <pc:sldMk cId="3130959713" sldId="337"/>
            <ac:spMk id="25" creationId="{746A20A2-ED1B-31FB-2EE7-2DFB1DD8B967}"/>
          </ac:spMkLst>
        </pc:spChg>
        <pc:spChg chg="mod">
          <ac:chgData name="Florian Faller" userId="4e496f4204a626e3" providerId="LiveId" clId="{9A21812C-E53D-4018-A66F-CEBBCC2D158E}" dt="2025-04-24T09:23:48.388" v="16213" actId="164"/>
          <ac:spMkLst>
            <pc:docMk/>
            <pc:sldMk cId="3130959713" sldId="337"/>
            <ac:spMk id="26" creationId="{51092854-CEDB-2D26-5900-3BF656BDA613}"/>
          </ac:spMkLst>
        </pc:spChg>
        <pc:spChg chg="mod">
          <ac:chgData name="Florian Faller" userId="4e496f4204a626e3" providerId="LiveId" clId="{9A21812C-E53D-4018-A66F-CEBBCC2D158E}" dt="2025-04-24T09:23:44.515" v="16212" actId="165"/>
          <ac:spMkLst>
            <pc:docMk/>
            <pc:sldMk cId="3130959713" sldId="337"/>
            <ac:spMk id="30" creationId="{32C225E0-07E4-32E3-A083-287E8A4CFC32}"/>
          </ac:spMkLst>
        </pc:spChg>
        <pc:spChg chg="mod">
          <ac:chgData name="Florian Faller" userId="4e496f4204a626e3" providerId="LiveId" clId="{9A21812C-E53D-4018-A66F-CEBBCC2D158E}" dt="2025-04-24T09:23:44.515" v="16212" actId="165"/>
          <ac:spMkLst>
            <pc:docMk/>
            <pc:sldMk cId="3130959713" sldId="337"/>
            <ac:spMk id="31" creationId="{C34476AD-6AF8-CD51-7AF8-9756811E7FDB}"/>
          </ac:spMkLst>
        </pc:spChg>
        <pc:spChg chg="mod">
          <ac:chgData name="Florian Faller" userId="4e496f4204a626e3" providerId="LiveId" clId="{9A21812C-E53D-4018-A66F-CEBBCC2D158E}" dt="2025-04-24T09:23:44.515" v="16212" actId="165"/>
          <ac:spMkLst>
            <pc:docMk/>
            <pc:sldMk cId="3130959713" sldId="337"/>
            <ac:spMk id="42" creationId="{2BA8294E-60DE-8B93-BCE3-FD55AB12E939}"/>
          </ac:spMkLst>
        </pc:spChg>
        <pc:spChg chg="mod">
          <ac:chgData name="Florian Faller" userId="4e496f4204a626e3" providerId="LiveId" clId="{9A21812C-E53D-4018-A66F-CEBBCC2D158E}" dt="2025-04-24T09:23:44.515" v="16212" actId="165"/>
          <ac:spMkLst>
            <pc:docMk/>
            <pc:sldMk cId="3130959713" sldId="337"/>
            <ac:spMk id="50" creationId="{8673C22C-4FF7-58F5-30EB-9775A31F69AA}"/>
          </ac:spMkLst>
        </pc:spChg>
        <pc:spChg chg="mod">
          <ac:chgData name="Florian Faller" userId="4e496f4204a626e3" providerId="LiveId" clId="{9A21812C-E53D-4018-A66F-CEBBCC2D158E}" dt="2025-04-24T09:23:44.515" v="16212" actId="165"/>
          <ac:spMkLst>
            <pc:docMk/>
            <pc:sldMk cId="3130959713" sldId="337"/>
            <ac:spMk id="52" creationId="{406A6ECD-0932-DFDB-630F-040AEDF95537}"/>
          </ac:spMkLst>
        </pc:spChg>
        <pc:spChg chg="mod">
          <ac:chgData name="Florian Faller" userId="4e496f4204a626e3" providerId="LiveId" clId="{9A21812C-E53D-4018-A66F-CEBBCC2D158E}" dt="2025-04-24T09:24:03.326" v="16217" actId="164"/>
          <ac:spMkLst>
            <pc:docMk/>
            <pc:sldMk cId="3130959713" sldId="337"/>
            <ac:spMk id="77" creationId="{AD82955F-0209-3EE2-5245-C64576CE7624}"/>
          </ac:spMkLst>
        </pc:spChg>
        <pc:spChg chg="mod topLvl">
          <ac:chgData name="Florian Faller" userId="4e496f4204a626e3" providerId="LiveId" clId="{9A21812C-E53D-4018-A66F-CEBBCC2D158E}" dt="2025-04-24T09:24:03.326" v="16217" actId="164"/>
          <ac:spMkLst>
            <pc:docMk/>
            <pc:sldMk cId="3130959713" sldId="337"/>
            <ac:spMk id="80" creationId="{4EDB9052-CC3C-16C8-CB0A-3220DB518EC3}"/>
          </ac:spMkLst>
        </pc:spChg>
        <pc:spChg chg="mod">
          <ac:chgData name="Florian Faller" userId="4e496f4204a626e3" providerId="LiveId" clId="{9A21812C-E53D-4018-A66F-CEBBCC2D158E}" dt="2025-04-24T09:24:03.326" v="16217" actId="164"/>
          <ac:spMkLst>
            <pc:docMk/>
            <pc:sldMk cId="3130959713" sldId="337"/>
            <ac:spMk id="82" creationId="{4AF6B0EA-5E9C-3DE6-F924-A6C2AA025D13}"/>
          </ac:spMkLst>
        </pc:spChg>
        <pc:spChg chg="mod">
          <ac:chgData name="Florian Faller" userId="4e496f4204a626e3" providerId="LiveId" clId="{9A21812C-E53D-4018-A66F-CEBBCC2D158E}" dt="2025-04-24T09:24:03.326" v="16217" actId="164"/>
          <ac:spMkLst>
            <pc:docMk/>
            <pc:sldMk cId="3130959713" sldId="337"/>
            <ac:spMk id="86" creationId="{53F3F9B0-EA3D-E925-B86C-961C65AAA06B}"/>
          </ac:spMkLst>
        </pc:spChg>
        <pc:spChg chg="mod topLvl">
          <ac:chgData name="Florian Faller" userId="4e496f4204a626e3" providerId="LiveId" clId="{9A21812C-E53D-4018-A66F-CEBBCC2D158E}" dt="2025-04-24T09:24:03.326" v="16217" actId="164"/>
          <ac:spMkLst>
            <pc:docMk/>
            <pc:sldMk cId="3130959713" sldId="337"/>
            <ac:spMk id="87" creationId="{035E753F-8B12-8A44-1DCE-F402CF6530E8}"/>
          </ac:spMkLst>
        </pc:spChg>
        <pc:spChg chg="mod">
          <ac:chgData name="Florian Faller" userId="4e496f4204a626e3" providerId="LiveId" clId="{9A21812C-E53D-4018-A66F-CEBBCC2D158E}" dt="2025-04-24T09:24:03.326" v="16217" actId="164"/>
          <ac:spMkLst>
            <pc:docMk/>
            <pc:sldMk cId="3130959713" sldId="337"/>
            <ac:spMk id="89" creationId="{B43564B2-C5DB-744C-8A92-DB88715619A5}"/>
          </ac:spMkLst>
        </pc:spChg>
        <pc:spChg chg="mod">
          <ac:chgData name="Florian Faller" userId="4e496f4204a626e3" providerId="LiveId" clId="{9A21812C-E53D-4018-A66F-CEBBCC2D158E}" dt="2025-04-24T09:24:03.326" v="16217" actId="164"/>
          <ac:spMkLst>
            <pc:docMk/>
            <pc:sldMk cId="3130959713" sldId="337"/>
            <ac:spMk id="90" creationId="{09BF8E05-B90A-63CD-69FE-C099E8643F80}"/>
          </ac:spMkLst>
        </pc:spChg>
        <pc:grpChg chg="mod">
          <ac:chgData name="Florian Faller" userId="4e496f4204a626e3" providerId="LiveId" clId="{9A21812C-E53D-4018-A66F-CEBBCC2D158E}" dt="2025-04-24T09:23:35.406" v="16211" actId="1076"/>
          <ac:grpSpMkLst>
            <pc:docMk/>
            <pc:sldMk cId="3130959713" sldId="337"/>
            <ac:grpSpMk id="5" creationId="{00808850-11DB-41B7-C15A-F4169B616222}"/>
          </ac:grpSpMkLst>
        </pc:grpChg>
        <pc:grpChg chg="add mod">
          <ac:chgData name="Florian Faller" userId="4e496f4204a626e3" providerId="LiveId" clId="{9A21812C-E53D-4018-A66F-CEBBCC2D158E}" dt="2025-04-24T09:23:50.471" v="16214" actId="164"/>
          <ac:grpSpMkLst>
            <pc:docMk/>
            <pc:sldMk cId="3130959713" sldId="337"/>
            <ac:grpSpMk id="11" creationId="{3607725C-E113-BAD9-A98E-5E87ABECD90A}"/>
          </ac:grpSpMkLst>
        </pc:grpChg>
        <pc:grpChg chg="add mod">
          <ac:chgData name="Florian Faller" userId="4e496f4204a626e3" providerId="LiveId" clId="{9A21812C-E53D-4018-A66F-CEBBCC2D158E}" dt="2025-04-24T09:23:58.551" v="16216" actId="14100"/>
          <ac:grpSpMkLst>
            <pc:docMk/>
            <pc:sldMk cId="3130959713" sldId="337"/>
            <ac:grpSpMk id="12" creationId="{A37CB2FE-062A-79B6-4708-ED49955A0426}"/>
          </ac:grpSpMkLst>
        </pc:grpChg>
        <pc:grpChg chg="add mod">
          <ac:chgData name="Florian Faller" userId="4e496f4204a626e3" providerId="LiveId" clId="{9A21812C-E53D-4018-A66F-CEBBCC2D158E}" dt="2025-04-24T09:24:03.326" v="16217" actId="164"/>
          <ac:grpSpMkLst>
            <pc:docMk/>
            <pc:sldMk cId="3130959713" sldId="337"/>
            <ac:grpSpMk id="13" creationId="{80773A49-7E9D-55CA-0812-F7F7698F823C}"/>
          </ac:grpSpMkLst>
        </pc:grpChg>
        <pc:grpChg chg="mod">
          <ac:chgData name="Florian Faller" userId="4e496f4204a626e3" providerId="LiveId" clId="{9A21812C-E53D-4018-A66F-CEBBCC2D158E}" dt="2025-04-24T09:24:03.326" v="16217" actId="164"/>
          <ac:grpSpMkLst>
            <pc:docMk/>
            <pc:sldMk cId="3130959713" sldId="337"/>
            <ac:grpSpMk id="38" creationId="{8E3ABB13-CDDE-55C5-A2BE-88EEC7FFAEBD}"/>
          </ac:grpSpMkLst>
        </pc:grpChg>
      </pc:sldChg>
      <pc:sldChg chg="add del mod ord modShow">
        <pc:chgData name="Florian Faller" userId="4e496f4204a626e3" providerId="LiveId" clId="{9A21812C-E53D-4018-A66F-CEBBCC2D158E}" dt="2025-04-24T09:49:14.149" v="16454" actId="47"/>
        <pc:sldMkLst>
          <pc:docMk/>
          <pc:sldMk cId="3636282943" sldId="338"/>
        </pc:sldMkLst>
      </pc:sldChg>
      <pc:sldChg chg="delSp new mod">
        <pc:chgData name="Florian Faller" userId="4e496f4204a626e3" providerId="LiveId" clId="{9A21812C-E53D-4018-A66F-CEBBCC2D158E}" dt="2025-04-24T09:11:38.919" v="16025" actId="478"/>
        <pc:sldMkLst>
          <pc:docMk/>
          <pc:sldMk cId="3771663879" sldId="339"/>
        </pc:sldMkLst>
        <pc:spChg chg="del">
          <ac:chgData name="Florian Faller" userId="4e496f4204a626e3" providerId="LiveId" clId="{9A21812C-E53D-4018-A66F-CEBBCC2D158E}" dt="2025-04-24T09:11:38.919" v="16025" actId="478"/>
          <ac:spMkLst>
            <pc:docMk/>
            <pc:sldMk cId="3771663879" sldId="339"/>
            <ac:spMk id="3" creationId="{CD3B7071-596C-D1EE-ED6D-AF249A349A33}"/>
          </ac:spMkLst>
        </pc:spChg>
      </pc:sldChg>
      <pc:sldChg chg="addSp delSp modSp add mod ord">
        <pc:chgData name="Florian Faller" userId="4e496f4204a626e3" providerId="LiveId" clId="{9A21812C-E53D-4018-A66F-CEBBCC2D158E}" dt="2025-04-24T09:14:12.418" v="16070" actId="20577"/>
        <pc:sldMkLst>
          <pc:docMk/>
          <pc:sldMk cId="2281622819" sldId="340"/>
        </pc:sldMkLst>
        <pc:spChg chg="mod">
          <ac:chgData name="Florian Faller" userId="4e496f4204a626e3" providerId="LiveId" clId="{9A21812C-E53D-4018-A66F-CEBBCC2D158E}" dt="2025-04-24T09:14:12.418" v="16070" actId="20577"/>
          <ac:spMkLst>
            <pc:docMk/>
            <pc:sldMk cId="2281622819" sldId="340"/>
            <ac:spMk id="5" creationId="{7ED3B6F3-411A-0CA0-40CC-0BEE401406F0}"/>
          </ac:spMkLst>
        </pc:spChg>
        <pc:spChg chg="del">
          <ac:chgData name="Florian Faller" userId="4e496f4204a626e3" providerId="LiveId" clId="{9A21812C-E53D-4018-A66F-CEBBCC2D158E}" dt="2025-04-24T09:13:28.319" v="16032" actId="478"/>
          <ac:spMkLst>
            <pc:docMk/>
            <pc:sldMk cId="2281622819" sldId="340"/>
            <ac:spMk id="6" creationId="{48A77284-6861-E6A8-F1DE-554E5AAC0089}"/>
          </ac:spMkLst>
        </pc:spChg>
        <pc:spChg chg="del mod">
          <ac:chgData name="Florian Faller" userId="4e496f4204a626e3" providerId="LiveId" clId="{9A21812C-E53D-4018-A66F-CEBBCC2D158E}" dt="2025-04-24T09:13:28.319" v="16032" actId="478"/>
          <ac:spMkLst>
            <pc:docMk/>
            <pc:sldMk cId="2281622819" sldId="340"/>
            <ac:spMk id="8" creationId="{7D1FF93F-3198-4A57-99E8-FF75C7281E88}"/>
          </ac:spMkLst>
        </pc:spChg>
        <pc:spChg chg="del">
          <ac:chgData name="Florian Faller" userId="4e496f4204a626e3" providerId="LiveId" clId="{9A21812C-E53D-4018-A66F-CEBBCC2D158E}" dt="2025-04-24T09:13:26.186" v="16030" actId="478"/>
          <ac:spMkLst>
            <pc:docMk/>
            <pc:sldMk cId="2281622819" sldId="340"/>
            <ac:spMk id="11" creationId="{2F98DA65-86F6-3F06-BED5-2356469C6160}"/>
          </ac:spMkLst>
        </pc:spChg>
        <pc:spChg chg="del mod">
          <ac:chgData name="Florian Faller" userId="4e496f4204a626e3" providerId="LiveId" clId="{9A21812C-E53D-4018-A66F-CEBBCC2D158E}" dt="2025-04-24T09:13:28.319" v="16032" actId="478"/>
          <ac:spMkLst>
            <pc:docMk/>
            <pc:sldMk cId="2281622819" sldId="340"/>
            <ac:spMk id="12" creationId="{1450FE4D-2AFA-CE62-EAB5-8044BD727094}"/>
          </ac:spMkLst>
        </pc:spChg>
        <pc:spChg chg="add mod">
          <ac:chgData name="Florian Faller" userId="4e496f4204a626e3" providerId="LiveId" clId="{9A21812C-E53D-4018-A66F-CEBBCC2D158E}" dt="2025-04-24T09:13:57.781" v="16054" actId="1076"/>
          <ac:spMkLst>
            <pc:docMk/>
            <pc:sldMk cId="2281622819" sldId="340"/>
            <ac:spMk id="14" creationId="{C359DD40-323D-6190-97E5-9F5AC2CA45E9}"/>
          </ac:spMkLst>
        </pc:spChg>
        <pc:spChg chg="del">
          <ac:chgData name="Florian Faller" userId="4e496f4204a626e3" providerId="LiveId" clId="{9A21812C-E53D-4018-A66F-CEBBCC2D158E}" dt="2025-04-24T09:13:26.186" v="16030" actId="478"/>
          <ac:spMkLst>
            <pc:docMk/>
            <pc:sldMk cId="2281622819" sldId="340"/>
            <ac:spMk id="24" creationId="{0562B90D-D900-41E4-03C9-3438F985AD30}"/>
          </ac:spMkLst>
        </pc:spChg>
        <pc:spChg chg="del">
          <ac:chgData name="Florian Faller" userId="4e496f4204a626e3" providerId="LiveId" clId="{9A21812C-E53D-4018-A66F-CEBBCC2D158E}" dt="2025-04-24T09:13:26.186" v="16030" actId="478"/>
          <ac:spMkLst>
            <pc:docMk/>
            <pc:sldMk cId="2281622819" sldId="340"/>
            <ac:spMk id="25" creationId="{D27C1803-6703-663B-3690-71D5903BB59A}"/>
          </ac:spMkLst>
        </pc:spChg>
        <pc:spChg chg="del">
          <ac:chgData name="Florian Faller" userId="4e496f4204a626e3" providerId="LiveId" clId="{9A21812C-E53D-4018-A66F-CEBBCC2D158E}" dt="2025-04-24T09:13:26.186" v="16030" actId="478"/>
          <ac:spMkLst>
            <pc:docMk/>
            <pc:sldMk cId="2281622819" sldId="340"/>
            <ac:spMk id="31" creationId="{250E3E54-BEE9-9C29-2B1E-5BD7BDA9E792}"/>
          </ac:spMkLst>
        </pc:spChg>
        <pc:spChg chg="del">
          <ac:chgData name="Florian Faller" userId="4e496f4204a626e3" providerId="LiveId" clId="{9A21812C-E53D-4018-A66F-CEBBCC2D158E}" dt="2025-04-24T09:13:26.186" v="16030" actId="478"/>
          <ac:spMkLst>
            <pc:docMk/>
            <pc:sldMk cId="2281622819" sldId="340"/>
            <ac:spMk id="33" creationId="{4400DB9D-D427-4C55-4D6B-3CF2C546FE73}"/>
          </ac:spMkLst>
        </pc:spChg>
        <pc:spChg chg="del">
          <ac:chgData name="Florian Faller" userId="4e496f4204a626e3" providerId="LiveId" clId="{9A21812C-E53D-4018-A66F-CEBBCC2D158E}" dt="2025-04-24T09:13:26.186" v="16030" actId="478"/>
          <ac:spMkLst>
            <pc:docMk/>
            <pc:sldMk cId="2281622819" sldId="340"/>
            <ac:spMk id="34" creationId="{1CBB764E-92A7-7539-38E5-E7C355E263F4}"/>
          </ac:spMkLst>
        </pc:spChg>
        <pc:spChg chg="del">
          <ac:chgData name="Florian Faller" userId="4e496f4204a626e3" providerId="LiveId" clId="{9A21812C-E53D-4018-A66F-CEBBCC2D158E}" dt="2025-04-24T09:13:26.186" v="16030" actId="478"/>
          <ac:spMkLst>
            <pc:docMk/>
            <pc:sldMk cId="2281622819" sldId="340"/>
            <ac:spMk id="35" creationId="{F732D8AB-4881-6E27-EF06-B97A518203B9}"/>
          </ac:spMkLst>
        </pc:spChg>
        <pc:spChg chg="del">
          <ac:chgData name="Florian Faller" userId="4e496f4204a626e3" providerId="LiveId" clId="{9A21812C-E53D-4018-A66F-CEBBCC2D158E}" dt="2025-04-24T09:13:26.186" v="16030" actId="478"/>
          <ac:spMkLst>
            <pc:docMk/>
            <pc:sldMk cId="2281622819" sldId="340"/>
            <ac:spMk id="36" creationId="{5927030D-BD22-C33B-0CAE-1156BFA87AA6}"/>
          </ac:spMkLst>
        </pc:spChg>
        <pc:spChg chg="del">
          <ac:chgData name="Florian Faller" userId="4e496f4204a626e3" providerId="LiveId" clId="{9A21812C-E53D-4018-A66F-CEBBCC2D158E}" dt="2025-04-24T09:13:26.186" v="16030" actId="478"/>
          <ac:spMkLst>
            <pc:docMk/>
            <pc:sldMk cId="2281622819" sldId="340"/>
            <ac:spMk id="37" creationId="{C3ADFFDC-00D3-C976-6E63-F225C50195CD}"/>
          </ac:spMkLst>
        </pc:spChg>
        <pc:spChg chg="del">
          <ac:chgData name="Florian Faller" userId="4e496f4204a626e3" providerId="LiveId" clId="{9A21812C-E53D-4018-A66F-CEBBCC2D158E}" dt="2025-04-24T09:13:26.186" v="16030" actId="478"/>
          <ac:spMkLst>
            <pc:docMk/>
            <pc:sldMk cId="2281622819" sldId="340"/>
            <ac:spMk id="38" creationId="{F3643BB5-07F6-B8C8-367D-200746878629}"/>
          </ac:spMkLst>
        </pc:spChg>
        <pc:cxnChg chg="mod">
          <ac:chgData name="Florian Faller" userId="4e496f4204a626e3" providerId="LiveId" clId="{9A21812C-E53D-4018-A66F-CEBBCC2D158E}" dt="2025-04-24T09:14:00.542" v="16055" actId="1076"/>
          <ac:cxnSpMkLst>
            <pc:docMk/>
            <pc:sldMk cId="2281622819" sldId="340"/>
            <ac:cxnSpMk id="40" creationId="{2867D1D4-F1A3-37AB-1889-C44B9F7F5725}"/>
          </ac:cxnSpMkLst>
        </pc:cxnChg>
        <pc:cxnChg chg="mod">
          <ac:chgData name="Florian Faller" userId="4e496f4204a626e3" providerId="LiveId" clId="{9A21812C-E53D-4018-A66F-CEBBCC2D158E}" dt="2025-04-24T09:14:03.196" v="16056" actId="1076"/>
          <ac:cxnSpMkLst>
            <pc:docMk/>
            <pc:sldMk cId="2281622819" sldId="340"/>
            <ac:cxnSpMk id="41" creationId="{D14EFAB5-0218-F21F-49B2-EC9257C78C89}"/>
          </ac:cxnSpMkLst>
        </pc:cxnChg>
      </pc:sldChg>
      <pc:sldChg chg="modSp mod modAnim">
        <pc:chgData name="Florian Faller" userId="4e496f4204a626e3" providerId="LiveId" clId="{9A21812C-E53D-4018-A66F-CEBBCC2D158E}" dt="2025-04-24T09:17:48.788" v="16096"/>
        <pc:sldMkLst>
          <pc:docMk/>
          <pc:sldMk cId="1480926650" sldId="341"/>
        </pc:sldMkLst>
        <pc:graphicFrameChg chg="mod">
          <ac:chgData name="Florian Faller" userId="4e496f4204a626e3" providerId="LiveId" clId="{9A21812C-E53D-4018-A66F-CEBBCC2D158E}" dt="2025-04-24T09:17:10.222" v="16092"/>
          <ac:graphicFrameMkLst>
            <pc:docMk/>
            <pc:sldMk cId="1480926650" sldId="341"/>
            <ac:graphicFrameMk id="7" creationId="{8DAFE654-A62A-5E60-609D-54D54A2B86E7}"/>
          </ac:graphicFrameMkLst>
        </pc:graphicFrameChg>
        <pc:picChg chg="mod">
          <ac:chgData name="Florian Faller" userId="4e496f4204a626e3" providerId="LiveId" clId="{9A21812C-E53D-4018-A66F-CEBBCC2D158E}" dt="2025-04-24T09:17:35.209" v="16095" actId="1038"/>
          <ac:picMkLst>
            <pc:docMk/>
            <pc:sldMk cId="1480926650" sldId="341"/>
            <ac:picMk id="6" creationId="{68995F11-F901-0EF0-2FC4-AD241612F806}"/>
          </ac:picMkLst>
        </pc:picChg>
      </pc:sldChg>
      <pc:sldChg chg="addSp modSp new mod">
        <pc:chgData name="Florian Faller" userId="4e496f4204a626e3" providerId="LiveId" clId="{9A21812C-E53D-4018-A66F-CEBBCC2D158E}" dt="2025-04-24T09:26:45.407" v="16322" actId="20577"/>
        <pc:sldMkLst>
          <pc:docMk/>
          <pc:sldMk cId="2633811666" sldId="342"/>
        </pc:sldMkLst>
        <pc:spChg chg="add mod">
          <ac:chgData name="Florian Faller" userId="4e496f4204a626e3" providerId="LiveId" clId="{9A21812C-E53D-4018-A66F-CEBBCC2D158E}" dt="2025-04-24T09:26:45.407" v="16322" actId="20577"/>
          <ac:spMkLst>
            <pc:docMk/>
            <pc:sldMk cId="2633811666" sldId="342"/>
            <ac:spMk id="5" creationId="{EF0C42C9-F73A-6410-ED21-BDDDE12CDB14}"/>
          </ac:spMkLst>
        </pc:spChg>
        <pc:spChg chg="add mod">
          <ac:chgData name="Florian Faller" userId="4e496f4204a626e3" providerId="LiveId" clId="{9A21812C-E53D-4018-A66F-CEBBCC2D158E}" dt="2025-04-24T09:26:38.065" v="16303" actId="6549"/>
          <ac:spMkLst>
            <pc:docMk/>
            <pc:sldMk cId="2633811666" sldId="342"/>
            <ac:spMk id="6" creationId="{9BF45AE6-2602-CF6C-0849-7423B32E6278}"/>
          </ac:spMkLst>
        </pc:spChg>
        <pc:spChg chg="add mod">
          <ac:chgData name="Florian Faller" userId="4e496f4204a626e3" providerId="LiveId" clId="{9A21812C-E53D-4018-A66F-CEBBCC2D158E}" dt="2025-04-24T09:25:45.395" v="16232"/>
          <ac:spMkLst>
            <pc:docMk/>
            <pc:sldMk cId="2633811666" sldId="342"/>
            <ac:spMk id="7" creationId="{45393C10-94ED-0992-2C1B-0AAC4EDF2C95}"/>
          </ac:spMkLst>
        </pc:spChg>
      </pc:sldChg>
      <pc:sldChg chg="addSp delSp modSp add mod ord">
        <pc:chgData name="Florian Faller" userId="4e496f4204a626e3" providerId="LiveId" clId="{9A21812C-E53D-4018-A66F-CEBBCC2D158E}" dt="2025-04-24T09:38:20.919" v="16444" actId="20577"/>
        <pc:sldMkLst>
          <pc:docMk/>
          <pc:sldMk cId="3729751698" sldId="344"/>
        </pc:sldMkLst>
        <pc:spChg chg="mod">
          <ac:chgData name="Florian Faller" userId="4e496f4204a626e3" providerId="LiveId" clId="{9A21812C-E53D-4018-A66F-CEBBCC2D158E}" dt="2025-04-24T09:36:31.883" v="16373" actId="6549"/>
          <ac:spMkLst>
            <pc:docMk/>
            <pc:sldMk cId="3729751698" sldId="344"/>
            <ac:spMk id="2" creationId="{71FF4EDE-7944-67B7-E092-D42497048B2F}"/>
          </ac:spMkLst>
        </pc:spChg>
        <pc:spChg chg="mod">
          <ac:chgData name="Florian Faller" userId="4e496f4204a626e3" providerId="LiveId" clId="{9A21812C-E53D-4018-A66F-CEBBCC2D158E}" dt="2025-04-24T09:38:20.919" v="16444" actId="20577"/>
          <ac:spMkLst>
            <pc:docMk/>
            <pc:sldMk cId="3729751698" sldId="344"/>
            <ac:spMk id="3" creationId="{3EDB2125-ED7F-FE62-09DF-D61E4C8D5CD8}"/>
          </ac:spMkLst>
        </pc:spChg>
        <pc:spChg chg="add mod">
          <ac:chgData name="Florian Faller" userId="4e496f4204a626e3" providerId="LiveId" clId="{9A21812C-E53D-4018-A66F-CEBBCC2D158E}" dt="2025-04-24T09:38:07.982" v="16435" actId="1076"/>
          <ac:spMkLst>
            <pc:docMk/>
            <pc:sldMk cId="3729751698" sldId="344"/>
            <ac:spMk id="16" creationId="{9402E9AA-B84D-D9E6-89BF-9A66DF5B6287}"/>
          </ac:spMkLst>
        </pc:spChg>
        <pc:spChg chg="add mod">
          <ac:chgData name="Florian Faller" userId="4e496f4204a626e3" providerId="LiveId" clId="{9A21812C-E53D-4018-A66F-CEBBCC2D158E}" dt="2025-04-24T09:38:10.956" v="16436" actId="1076"/>
          <ac:spMkLst>
            <pc:docMk/>
            <pc:sldMk cId="3729751698" sldId="344"/>
            <ac:spMk id="17" creationId="{ACF5A195-986B-BFC0-7CF2-4B014978B007}"/>
          </ac:spMkLst>
        </pc:spChg>
        <pc:grpChg chg="del">
          <ac:chgData name="Florian Faller" userId="4e496f4204a626e3" providerId="LiveId" clId="{9A21812C-E53D-4018-A66F-CEBBCC2D158E}" dt="2025-04-24T09:36:21.931" v="16371" actId="478"/>
          <ac:grpSpMkLst>
            <pc:docMk/>
            <pc:sldMk cId="3729751698" sldId="344"/>
            <ac:grpSpMk id="13" creationId="{AE2745EC-C572-4790-EE25-5AC9F7CB160F}"/>
          </ac:grpSpMkLst>
        </pc:grpChg>
        <pc:cxnChg chg="add mod">
          <ac:chgData name="Florian Faller" userId="4e496f4204a626e3" providerId="LiveId" clId="{9A21812C-E53D-4018-A66F-CEBBCC2D158E}" dt="2025-04-24T09:38:07.982" v="16435" actId="1076"/>
          <ac:cxnSpMkLst>
            <pc:docMk/>
            <pc:sldMk cId="3729751698" sldId="344"/>
            <ac:cxnSpMk id="5" creationId="{39B91920-3594-616F-07EC-E5645EE8F3DE}"/>
          </ac:cxnSpMkLst>
        </pc:cxnChg>
        <pc:cxnChg chg="add mod">
          <ac:chgData name="Florian Faller" userId="4e496f4204a626e3" providerId="LiveId" clId="{9A21812C-E53D-4018-A66F-CEBBCC2D158E}" dt="2025-04-24T09:38:07.982" v="16435" actId="1076"/>
          <ac:cxnSpMkLst>
            <pc:docMk/>
            <pc:sldMk cId="3729751698" sldId="344"/>
            <ac:cxnSpMk id="15" creationId="{D41795A7-A43C-35C6-52A7-97746A096797}"/>
          </ac:cxnSpMkLst>
        </pc:cxnChg>
      </pc:sldChg>
      <pc:sldMasterChg chg="addSp delSp modSp mod addSldLayout modSldLayout">
        <pc:chgData name="Florian Faller" userId="4e496f4204a626e3" providerId="LiveId" clId="{9A21812C-E53D-4018-A66F-CEBBCC2D158E}" dt="2025-04-24T09:21:10.346" v="16209" actId="14100"/>
        <pc:sldMasterMkLst>
          <pc:docMk/>
          <pc:sldMasterMk cId="3634822058" sldId="2147483648"/>
        </pc:sldMasterMkLst>
        <pc:spChg chg="mod">
          <ac:chgData name="Florian Faller" userId="4e496f4204a626e3" providerId="LiveId" clId="{9A21812C-E53D-4018-A66F-CEBBCC2D158E}" dt="2025-04-23T06:13:28.873" v="274" actId="948"/>
          <ac:spMkLst>
            <pc:docMk/>
            <pc:sldMasterMk cId="3634822058" sldId="2147483648"/>
            <ac:spMk id="2" creationId="{8930B4CC-1CD5-414E-92CD-721B331F6F0F}"/>
          </ac:spMkLst>
        </pc:spChg>
        <pc:spChg chg="add del mod modVis">
          <ac:chgData name="Florian Faller" userId="4e496f4204a626e3" providerId="LiveId" clId="{9A21812C-E53D-4018-A66F-CEBBCC2D158E}" dt="2025-04-23T06:12:35.425" v="138" actId="962"/>
          <ac:spMkLst>
            <pc:docMk/>
            <pc:sldMasterMk cId="3634822058" sldId="2147483648"/>
            <ac:spMk id="7" creationId="{6AA4E93C-955E-C3C2-1A50-25B43EE48BD2}"/>
          </ac:spMkLst>
        </pc:spChg>
        <pc:spChg chg="add del mod modVis">
          <ac:chgData name="Florian Faller" userId="4e496f4204a626e3" providerId="LiveId" clId="{9A21812C-E53D-4018-A66F-CEBBCC2D158E}" dt="2025-04-23T06:13:12.048" v="269" actId="962"/>
          <ac:spMkLst>
            <pc:docMk/>
            <pc:sldMasterMk cId="3634822058" sldId="2147483648"/>
            <ac:spMk id="9" creationId="{CB185858-B760-81AC-A42A-BA71C2E917EF}"/>
          </ac:spMkLst>
        </pc:spChg>
        <pc:spChg chg="add del mod modVis">
          <ac:chgData name="Florian Faller" userId="4e496f4204a626e3" providerId="LiveId" clId="{9A21812C-E53D-4018-A66F-CEBBCC2D158E}" dt="2025-04-23T06:13:29.117" v="321"/>
          <ac:spMkLst>
            <pc:docMk/>
            <pc:sldMasterMk cId="3634822058" sldId="2147483648"/>
            <ac:spMk id="11" creationId="{87668C90-F574-7C19-8B2D-845C92C06D69}"/>
          </ac:spMkLst>
        </pc:spChg>
        <pc:graphicFrameChg chg="add mod ord modVis">
          <ac:chgData name="Florian Faller" userId="4e496f4204a626e3" providerId="LiveId" clId="{9A21812C-E53D-4018-A66F-CEBBCC2D158E}" dt="2025-04-23T06:12:35.348" v="101" actId="14100"/>
          <ac:graphicFrameMkLst>
            <pc:docMk/>
            <pc:sldMasterMk cId="3634822058" sldId="2147483648"/>
            <ac:graphicFrameMk id="8" creationId="{646F9475-CF87-7DFC-049B-867D9960C251}"/>
          </ac:graphicFrameMkLst>
        </pc:graphicFrameChg>
        <pc:graphicFrameChg chg="add mod ord modVis">
          <ac:chgData name="Florian Faller" userId="4e496f4204a626e3" providerId="LiveId" clId="{9A21812C-E53D-4018-A66F-CEBBCC2D158E}" dt="2025-04-23T06:13:11.952" v="232" actId="14100"/>
          <ac:graphicFrameMkLst>
            <pc:docMk/>
            <pc:sldMasterMk cId="3634822058" sldId="2147483648"/>
            <ac:graphicFrameMk id="10" creationId="{052AA19E-B920-91B1-A876-83CDFF8A1D33}"/>
          </ac:graphicFrameMkLst>
        </pc:graphicFrameChg>
        <pc:graphicFrameChg chg="add mod ord modVis">
          <ac:chgData name="Florian Faller" userId="4e496f4204a626e3" providerId="LiveId" clId="{9A21812C-E53D-4018-A66F-CEBBCC2D158E}" dt="2025-04-23T06:13:29.205" v="335"/>
          <ac:graphicFrameMkLst>
            <pc:docMk/>
            <pc:sldMasterMk cId="3634822058" sldId="2147483648"/>
            <ac:graphicFrameMk id="12" creationId="{086D931A-7C4F-8537-7199-E7D340FFD0C0}"/>
          </ac:graphicFrameMkLst>
        </pc:graphicFrameChg>
        <pc:sldLayoutChg chg="modSp mod">
          <pc:chgData name="Florian Faller" userId="4e496f4204a626e3" providerId="LiveId" clId="{9A21812C-E53D-4018-A66F-CEBBCC2D158E}" dt="2025-04-24T09:21:10.346" v="16209" actId="14100"/>
          <pc:sldLayoutMkLst>
            <pc:docMk/>
            <pc:sldMasterMk cId="3634822058" sldId="2147483648"/>
            <pc:sldLayoutMk cId="352351632" sldId="2147483649"/>
          </pc:sldLayoutMkLst>
          <pc:picChg chg="mod">
            <ac:chgData name="Florian Faller" userId="4e496f4204a626e3" providerId="LiveId" clId="{9A21812C-E53D-4018-A66F-CEBBCC2D158E}" dt="2025-04-24T09:21:10.346" v="16209" actId="14100"/>
            <ac:picMkLst>
              <pc:docMk/>
              <pc:sldMasterMk cId="3634822058" sldId="2147483648"/>
              <pc:sldLayoutMk cId="352351632" sldId="2147483649"/>
              <ac:picMk id="3" creationId="{8E7FFE5B-C2CA-473D-8FCA-B26579CCBAAF}"/>
            </ac:picMkLst>
          </pc:picChg>
        </pc:sldLayoutChg>
        <pc:sldLayoutChg chg="addSp delSp modSp mod">
          <pc:chgData name="Florian Faller" userId="4e496f4204a626e3" providerId="LiveId" clId="{9A21812C-E53D-4018-A66F-CEBBCC2D158E}" dt="2025-04-23T15:45:21.503" v="4888" actId="478"/>
          <pc:sldLayoutMkLst>
            <pc:docMk/>
            <pc:sldMasterMk cId="3634822058" sldId="2147483648"/>
            <pc:sldLayoutMk cId="3057735699" sldId="2147483651"/>
          </pc:sldLayoutMkLst>
          <pc:picChg chg="add del">
            <ac:chgData name="Florian Faller" userId="4e496f4204a626e3" providerId="LiveId" clId="{9A21812C-E53D-4018-A66F-CEBBCC2D158E}" dt="2025-04-23T15:45:21.503" v="4888" actId="478"/>
            <ac:picMkLst>
              <pc:docMk/>
              <pc:sldMasterMk cId="3634822058" sldId="2147483648"/>
              <pc:sldLayoutMk cId="3057735699" sldId="2147483651"/>
              <ac:picMk id="3" creationId="{6B95BA1F-6B83-4358-A202-FD15470976A9}"/>
            </ac:picMkLst>
          </pc:picChg>
          <pc:picChg chg="add mod">
            <ac:chgData name="Florian Faller" userId="4e496f4204a626e3" providerId="LiveId" clId="{9A21812C-E53D-4018-A66F-CEBBCC2D158E}" dt="2025-04-23T15:45:20.342" v="4887" actId="1076"/>
            <ac:picMkLst>
              <pc:docMk/>
              <pc:sldMasterMk cId="3634822058" sldId="2147483648"/>
              <pc:sldLayoutMk cId="3057735699" sldId="2147483651"/>
              <ac:picMk id="7" creationId="{CAA9BD71-0511-D01B-B257-F75B4EE0CBC0}"/>
            </ac:picMkLst>
          </pc:picChg>
        </pc:sldLayoutChg>
        <pc:sldLayoutChg chg="addSp delSp modSp add mod modTransition">
          <pc:chgData name="Florian Faller" userId="4e496f4204a626e3" providerId="LiveId" clId="{9A21812C-E53D-4018-A66F-CEBBCC2D158E}" dt="2025-04-23T15:46:52.813" v="4927" actId="18131"/>
          <pc:sldLayoutMkLst>
            <pc:docMk/>
            <pc:sldMasterMk cId="3634822058" sldId="2147483648"/>
            <pc:sldLayoutMk cId="2958603296" sldId="2147483672"/>
          </pc:sldLayoutMkLst>
          <pc:spChg chg="mod ord">
            <ac:chgData name="Florian Faller" userId="4e496f4204a626e3" providerId="LiveId" clId="{9A21812C-E53D-4018-A66F-CEBBCC2D158E}" dt="2025-04-23T15:46:39.801" v="4920"/>
            <ac:spMkLst>
              <pc:docMk/>
              <pc:sldMasterMk cId="3634822058" sldId="2147483648"/>
              <pc:sldLayoutMk cId="2958603296" sldId="2147483672"/>
              <ac:spMk id="4" creationId="{A35C10F8-CB40-4BDD-AA21-7DDC300FE73E}"/>
            </ac:spMkLst>
          </pc:spChg>
          <pc:spChg chg="mod ord">
            <ac:chgData name="Florian Faller" userId="4e496f4204a626e3" providerId="LiveId" clId="{9A21812C-E53D-4018-A66F-CEBBCC2D158E}" dt="2025-04-23T15:46:39.801" v="4922"/>
            <ac:spMkLst>
              <pc:docMk/>
              <pc:sldMasterMk cId="3634822058" sldId="2147483648"/>
              <pc:sldLayoutMk cId="2958603296" sldId="2147483672"/>
              <ac:spMk id="5" creationId="{434969F5-F9D0-4A38-8C6C-86005388F51D}"/>
            </ac:spMkLst>
          </pc:spChg>
          <pc:spChg chg="mod ord">
            <ac:chgData name="Florian Faller" userId="4e496f4204a626e3" providerId="LiveId" clId="{9A21812C-E53D-4018-A66F-CEBBCC2D158E}" dt="2025-04-23T15:46:39.801" v="4924"/>
            <ac:spMkLst>
              <pc:docMk/>
              <pc:sldMasterMk cId="3634822058" sldId="2147483648"/>
              <pc:sldLayoutMk cId="2958603296" sldId="2147483672"/>
              <ac:spMk id="6" creationId="{7CC33B3F-10CE-4363-805C-361CA49414B4}"/>
            </ac:spMkLst>
          </pc:spChg>
          <pc:spChg chg="del">
            <ac:chgData name="Florian Faller" userId="4e496f4204a626e3" providerId="LiveId" clId="{9A21812C-E53D-4018-A66F-CEBBCC2D158E}" dt="2025-04-23T15:45:33.058" v="4890" actId="478"/>
            <ac:spMkLst>
              <pc:docMk/>
              <pc:sldMasterMk cId="3634822058" sldId="2147483648"/>
              <pc:sldLayoutMk cId="2958603296" sldId="2147483672"/>
              <ac:spMk id="13" creationId="{8EABAB15-C887-420D-92A1-24DBD62EE558}"/>
            </ac:spMkLst>
          </pc:spChg>
          <pc:spChg chg="del">
            <ac:chgData name="Florian Faller" userId="4e496f4204a626e3" providerId="LiveId" clId="{9A21812C-E53D-4018-A66F-CEBBCC2D158E}" dt="2025-04-23T15:45:33.058" v="4890" actId="478"/>
            <ac:spMkLst>
              <pc:docMk/>
              <pc:sldMasterMk cId="3634822058" sldId="2147483648"/>
              <pc:sldLayoutMk cId="2958603296" sldId="2147483672"/>
              <ac:spMk id="16" creationId="{F7E8EA93-3F05-4D28-8B15-91D6789458B4}"/>
            </ac:spMkLst>
          </pc:spChg>
          <pc:spChg chg="del">
            <ac:chgData name="Florian Faller" userId="4e496f4204a626e3" providerId="LiveId" clId="{9A21812C-E53D-4018-A66F-CEBBCC2D158E}" dt="2025-04-23T15:45:33.058" v="4890" actId="478"/>
            <ac:spMkLst>
              <pc:docMk/>
              <pc:sldMasterMk cId="3634822058" sldId="2147483648"/>
              <pc:sldLayoutMk cId="2958603296" sldId="2147483672"/>
              <ac:spMk id="17" creationId="{B4EBCE5D-8795-44C7-8196-051689C6FE2A}"/>
            </ac:spMkLst>
          </pc:spChg>
          <pc:spChg chg="del">
            <ac:chgData name="Florian Faller" userId="4e496f4204a626e3" providerId="LiveId" clId="{9A21812C-E53D-4018-A66F-CEBBCC2D158E}" dt="2025-04-23T15:45:33.058" v="4890" actId="478"/>
            <ac:spMkLst>
              <pc:docMk/>
              <pc:sldMasterMk cId="3634822058" sldId="2147483648"/>
              <pc:sldLayoutMk cId="2958603296" sldId="2147483672"/>
              <ac:spMk id="18" creationId="{195044F5-86E3-4A1C-B3C8-6E3422E5B418}"/>
            </ac:spMkLst>
          </pc:spChg>
          <pc:spChg chg="del">
            <ac:chgData name="Florian Faller" userId="4e496f4204a626e3" providerId="LiveId" clId="{9A21812C-E53D-4018-A66F-CEBBCC2D158E}" dt="2025-04-23T15:45:33.058" v="4890" actId="478"/>
            <ac:spMkLst>
              <pc:docMk/>
              <pc:sldMasterMk cId="3634822058" sldId="2147483648"/>
              <pc:sldLayoutMk cId="2958603296" sldId="2147483672"/>
              <ac:spMk id="19" creationId="{4C9BA1BF-0690-4DB5-9BBC-31D1948D82A8}"/>
            </ac:spMkLst>
          </pc:spChg>
          <pc:spChg chg="del">
            <ac:chgData name="Florian Faller" userId="4e496f4204a626e3" providerId="LiveId" clId="{9A21812C-E53D-4018-A66F-CEBBCC2D158E}" dt="2025-04-23T15:45:33.058" v="4890" actId="478"/>
            <ac:spMkLst>
              <pc:docMk/>
              <pc:sldMasterMk cId="3634822058" sldId="2147483648"/>
              <pc:sldLayoutMk cId="2958603296" sldId="2147483672"/>
              <ac:spMk id="20" creationId="{0D187952-9422-42DE-B163-B764E0D09925}"/>
            </ac:spMkLst>
          </pc:spChg>
          <pc:spChg chg="del">
            <ac:chgData name="Florian Faller" userId="4e496f4204a626e3" providerId="LiveId" clId="{9A21812C-E53D-4018-A66F-CEBBCC2D158E}" dt="2025-04-23T15:45:33.058" v="4890" actId="478"/>
            <ac:spMkLst>
              <pc:docMk/>
              <pc:sldMasterMk cId="3634822058" sldId="2147483648"/>
              <pc:sldLayoutMk cId="2958603296" sldId="2147483672"/>
              <ac:spMk id="21" creationId="{54291470-2EE9-46D8-8083-E4523DCE52BB}"/>
            </ac:spMkLst>
          </pc:spChg>
          <pc:spChg chg="del">
            <ac:chgData name="Florian Faller" userId="4e496f4204a626e3" providerId="LiveId" clId="{9A21812C-E53D-4018-A66F-CEBBCC2D158E}" dt="2025-04-23T15:45:33.058" v="4890" actId="478"/>
            <ac:spMkLst>
              <pc:docMk/>
              <pc:sldMasterMk cId="3634822058" sldId="2147483648"/>
              <pc:sldLayoutMk cId="2958603296" sldId="2147483672"/>
              <ac:spMk id="22" creationId="{17B8E7E2-50C1-429D-A8C5-C098CDADCF3F}"/>
            </ac:spMkLst>
          </pc:spChg>
          <pc:spChg chg="del">
            <ac:chgData name="Florian Faller" userId="4e496f4204a626e3" providerId="LiveId" clId="{9A21812C-E53D-4018-A66F-CEBBCC2D158E}" dt="2025-04-23T15:45:33.058" v="4890" actId="478"/>
            <ac:spMkLst>
              <pc:docMk/>
              <pc:sldMasterMk cId="3634822058" sldId="2147483648"/>
              <pc:sldLayoutMk cId="2958603296" sldId="2147483672"/>
              <ac:spMk id="24" creationId="{EA61E342-2B6C-4379-A3B3-8D1B338F656B}"/>
            </ac:spMkLst>
          </pc:spChg>
          <pc:spChg chg="del">
            <ac:chgData name="Florian Faller" userId="4e496f4204a626e3" providerId="LiveId" clId="{9A21812C-E53D-4018-A66F-CEBBCC2D158E}" dt="2025-04-23T15:45:33.058" v="4890" actId="478"/>
            <ac:spMkLst>
              <pc:docMk/>
              <pc:sldMasterMk cId="3634822058" sldId="2147483648"/>
              <pc:sldLayoutMk cId="2958603296" sldId="2147483672"/>
              <ac:spMk id="25" creationId="{4F39B769-D212-4C11-B6CB-0423DD10599D}"/>
            </ac:spMkLst>
          </pc:spChg>
          <pc:graphicFrameChg chg="add mod ord modVis">
            <ac:chgData name="Florian Faller" userId="4e496f4204a626e3" providerId="LiveId" clId="{9A21812C-E53D-4018-A66F-CEBBCC2D158E}" dt="2025-04-23T15:46:39.801" v="4926"/>
            <ac:graphicFrameMkLst>
              <pc:docMk/>
              <pc:sldMasterMk cId="3634822058" sldId="2147483648"/>
              <pc:sldLayoutMk cId="2958603296" sldId="2147483672"/>
              <ac:graphicFrameMk id="8" creationId="{1663AEBF-9F25-6417-6306-7E47D4F7C485}"/>
            </ac:graphicFrameMkLst>
          </pc:graphicFrameChg>
          <pc:picChg chg="add mod ord modCrop">
            <ac:chgData name="Florian Faller" userId="4e496f4204a626e3" providerId="LiveId" clId="{9A21812C-E53D-4018-A66F-CEBBCC2D158E}" dt="2025-04-23T15:46:52.813" v="4927" actId="18131"/>
            <ac:picMkLst>
              <pc:docMk/>
              <pc:sldMasterMk cId="3634822058" sldId="2147483648"/>
              <pc:sldLayoutMk cId="2958603296" sldId="2147483672"/>
              <ac:picMk id="7" creationId="{A6C5B428-73D6-2B3D-DB0B-8DABB05794DA}"/>
            </ac:picMkLst>
          </pc:picChg>
        </pc:sldLayoutChg>
        <pc:sldLayoutChg chg="addSp delSp modSp add mod modTransition">
          <pc:chgData name="Florian Faller" userId="4e496f4204a626e3" providerId="LiveId" clId="{9A21812C-E53D-4018-A66F-CEBBCC2D158E}" dt="2025-04-23T17:36:19.857" v="5694"/>
          <pc:sldLayoutMkLst>
            <pc:docMk/>
            <pc:sldMasterMk cId="3634822058" sldId="2147483648"/>
            <pc:sldLayoutMk cId="4148007916" sldId="2147483673"/>
          </pc:sldLayoutMkLst>
          <pc:spChg chg="del">
            <ac:chgData name="Florian Faller" userId="4e496f4204a626e3" providerId="LiveId" clId="{9A21812C-E53D-4018-A66F-CEBBCC2D158E}" dt="2025-04-23T16:19:15.731" v="5118" actId="478"/>
            <ac:spMkLst>
              <pc:docMk/>
              <pc:sldMasterMk cId="3634822058" sldId="2147483648"/>
              <pc:sldLayoutMk cId="4148007916" sldId="2147483673"/>
              <ac:spMk id="2" creationId="{C7CA7F01-3F2D-4396-A7D4-3D21C56D7FCC}"/>
            </ac:spMkLst>
          </pc:spChg>
          <pc:spChg chg="del">
            <ac:chgData name="Florian Faller" userId="4e496f4204a626e3" providerId="LiveId" clId="{9A21812C-E53D-4018-A66F-CEBBCC2D158E}" dt="2025-04-23T16:19:15.731" v="5118" actId="478"/>
            <ac:spMkLst>
              <pc:docMk/>
              <pc:sldMasterMk cId="3634822058" sldId="2147483648"/>
              <pc:sldLayoutMk cId="4148007916" sldId="2147483673"/>
              <ac:spMk id="5" creationId="{A410CE2C-509A-4C33-AB34-6F278F1171B9}"/>
            </ac:spMkLst>
          </pc:spChg>
          <pc:spChg chg="del">
            <ac:chgData name="Florian Faller" userId="4e496f4204a626e3" providerId="LiveId" clId="{9A21812C-E53D-4018-A66F-CEBBCC2D158E}" dt="2025-04-23T16:19:15.731" v="5118" actId="478"/>
            <ac:spMkLst>
              <pc:docMk/>
              <pc:sldMasterMk cId="3634822058" sldId="2147483648"/>
              <pc:sldLayoutMk cId="4148007916" sldId="2147483673"/>
              <ac:spMk id="6" creationId="{78F06B8C-060C-4139-B354-239A56BB3422}"/>
            </ac:spMkLst>
          </pc:spChg>
          <pc:spChg chg="del">
            <ac:chgData name="Florian Faller" userId="4e496f4204a626e3" providerId="LiveId" clId="{9A21812C-E53D-4018-A66F-CEBBCC2D158E}" dt="2025-04-23T16:19:15.731" v="5118" actId="478"/>
            <ac:spMkLst>
              <pc:docMk/>
              <pc:sldMasterMk cId="3634822058" sldId="2147483648"/>
              <pc:sldLayoutMk cId="4148007916" sldId="2147483673"/>
              <ac:spMk id="7" creationId="{957BE7C0-2680-40FD-88E4-27D6E7775DF3}"/>
            </ac:spMkLst>
          </pc:spChg>
          <pc:spChg chg="add mod">
            <ac:chgData name="Florian Faller" userId="4e496f4204a626e3" providerId="LiveId" clId="{9A21812C-E53D-4018-A66F-CEBBCC2D158E}" dt="2025-04-23T17:36:19.857" v="5694"/>
            <ac:spMkLst>
              <pc:docMk/>
              <pc:sldMasterMk cId="3634822058" sldId="2147483648"/>
              <pc:sldLayoutMk cId="4148007916" sldId="2147483673"/>
              <ac:spMk id="8" creationId="{75996B35-18DB-63BE-0419-8CDF558CF92D}"/>
            </ac:spMkLst>
          </pc:spChg>
          <pc:spChg chg="add mod">
            <ac:chgData name="Florian Faller" userId="4e496f4204a626e3" providerId="LiveId" clId="{9A21812C-E53D-4018-A66F-CEBBCC2D158E}" dt="2025-04-23T17:36:19.857" v="5694"/>
            <ac:spMkLst>
              <pc:docMk/>
              <pc:sldMasterMk cId="3634822058" sldId="2147483648"/>
              <pc:sldLayoutMk cId="4148007916" sldId="2147483673"/>
              <ac:spMk id="9" creationId="{AD552477-9EA1-86A1-21D4-64FB5D0737C5}"/>
            </ac:spMkLst>
          </pc:spChg>
          <pc:spChg chg="del">
            <ac:chgData name="Florian Faller" userId="4e496f4204a626e3" providerId="LiveId" clId="{9A21812C-E53D-4018-A66F-CEBBCC2D158E}" dt="2025-04-23T16:19:15.731" v="5118" actId="478"/>
            <ac:spMkLst>
              <pc:docMk/>
              <pc:sldMasterMk cId="3634822058" sldId="2147483648"/>
              <pc:sldLayoutMk cId="4148007916" sldId="2147483673"/>
              <ac:spMk id="10" creationId="{01941F94-25C7-46EC-89FE-B12B54F77CFA}"/>
            </ac:spMkLst>
          </pc:spChg>
          <pc:spChg chg="del">
            <ac:chgData name="Florian Faller" userId="4e496f4204a626e3" providerId="LiveId" clId="{9A21812C-E53D-4018-A66F-CEBBCC2D158E}" dt="2025-04-23T16:19:15.731" v="5118" actId="478"/>
            <ac:spMkLst>
              <pc:docMk/>
              <pc:sldMasterMk cId="3634822058" sldId="2147483648"/>
              <pc:sldLayoutMk cId="4148007916" sldId="2147483673"/>
              <ac:spMk id="11" creationId="{1DE2747E-A71B-4917-8960-56D4F927D8C5}"/>
            </ac:spMkLst>
          </pc:spChg>
          <pc:spChg chg="del">
            <ac:chgData name="Florian Faller" userId="4e496f4204a626e3" providerId="LiveId" clId="{9A21812C-E53D-4018-A66F-CEBBCC2D158E}" dt="2025-04-23T16:19:15.731" v="5118" actId="478"/>
            <ac:spMkLst>
              <pc:docMk/>
              <pc:sldMasterMk cId="3634822058" sldId="2147483648"/>
              <pc:sldLayoutMk cId="4148007916" sldId="2147483673"/>
              <ac:spMk id="12" creationId="{B3830FC7-44D5-48CD-AA84-4E262F2EB8C8}"/>
            </ac:spMkLst>
          </pc:spChg>
          <pc:spChg chg="del">
            <ac:chgData name="Florian Faller" userId="4e496f4204a626e3" providerId="LiveId" clId="{9A21812C-E53D-4018-A66F-CEBBCC2D158E}" dt="2025-04-23T16:19:15.731" v="5118" actId="478"/>
            <ac:spMkLst>
              <pc:docMk/>
              <pc:sldMasterMk cId="3634822058" sldId="2147483648"/>
              <pc:sldLayoutMk cId="4148007916" sldId="2147483673"/>
              <ac:spMk id="13" creationId="{51F423C9-E1B4-4BD9-98A5-9397C32447D9}"/>
            </ac:spMkLst>
          </pc:spChg>
          <pc:spChg chg="del">
            <ac:chgData name="Florian Faller" userId="4e496f4204a626e3" providerId="LiveId" clId="{9A21812C-E53D-4018-A66F-CEBBCC2D158E}" dt="2025-04-23T16:19:15.731" v="5118" actId="478"/>
            <ac:spMkLst>
              <pc:docMk/>
              <pc:sldMasterMk cId="3634822058" sldId="2147483648"/>
              <pc:sldLayoutMk cId="4148007916" sldId="2147483673"/>
              <ac:spMk id="15" creationId="{C026C956-C6C4-4010-889F-B8D762036464}"/>
            </ac:spMkLst>
          </pc:spChg>
          <pc:spChg chg="del">
            <ac:chgData name="Florian Faller" userId="4e496f4204a626e3" providerId="LiveId" clId="{9A21812C-E53D-4018-A66F-CEBBCC2D158E}" dt="2025-04-23T16:19:15.731" v="5118" actId="478"/>
            <ac:spMkLst>
              <pc:docMk/>
              <pc:sldMasterMk cId="3634822058" sldId="2147483648"/>
              <pc:sldLayoutMk cId="4148007916" sldId="2147483673"/>
              <ac:spMk id="16" creationId="{A4D363AD-B16F-46C4-9856-EA9EAC699EF7}"/>
            </ac:spMkLst>
          </pc:spChg>
          <pc:spChg chg="add mod">
            <ac:chgData name="Florian Faller" userId="4e496f4204a626e3" providerId="LiveId" clId="{9A21812C-E53D-4018-A66F-CEBBCC2D158E}" dt="2025-04-23T17:36:19.857" v="5694"/>
            <ac:spMkLst>
              <pc:docMk/>
              <pc:sldMasterMk cId="3634822058" sldId="2147483648"/>
              <pc:sldLayoutMk cId="4148007916" sldId="2147483673"/>
              <ac:spMk id="17" creationId="{F5D5CD7A-110F-2CAA-6ADC-33A892BCA791}"/>
            </ac:spMkLst>
          </pc:spChg>
          <pc:graphicFrameChg chg="add mod ord modVis">
            <ac:chgData name="Florian Faller" userId="4e496f4204a626e3" providerId="LiveId" clId="{9A21812C-E53D-4018-A66F-CEBBCC2D158E}" dt="2025-04-23T17:36:14.473" v="5693"/>
            <ac:graphicFrameMkLst>
              <pc:docMk/>
              <pc:sldMasterMk cId="3634822058" sldId="2147483648"/>
              <pc:sldLayoutMk cId="4148007916" sldId="2147483673"/>
              <ac:graphicFrameMk id="4" creationId="{10807DA3-5459-9D04-AA9A-3A8978A8277B}"/>
            </ac:graphicFrameMkLst>
          </pc:graphicFrameChg>
          <pc:picChg chg="mod ord">
            <ac:chgData name="Florian Faller" userId="4e496f4204a626e3" providerId="LiveId" clId="{9A21812C-E53D-4018-A66F-CEBBCC2D158E}" dt="2025-04-23T17:36:14.473" v="5691"/>
            <ac:picMkLst>
              <pc:docMk/>
              <pc:sldMasterMk cId="3634822058" sldId="2147483648"/>
              <pc:sldLayoutMk cId="4148007916" sldId="2147483673"/>
              <ac:picMk id="3" creationId="{1927D588-C832-4149-9B9F-D817459D8B7F}"/>
            </ac:picMkLst>
          </pc:picChg>
        </pc:sldLayoutChg>
        <pc:sldLayoutChg chg="addSp delSp modSp add mod modTransition">
          <pc:chgData name="Florian Faller" userId="4e496f4204a626e3" providerId="LiveId" clId="{9A21812C-E53D-4018-A66F-CEBBCC2D158E}" dt="2025-04-23T20:37:21.445" v="9343"/>
          <pc:sldLayoutMkLst>
            <pc:docMk/>
            <pc:sldMasterMk cId="3634822058" sldId="2147483648"/>
            <pc:sldLayoutMk cId="3667042932" sldId="2147483674"/>
          </pc:sldLayoutMkLst>
          <pc:spChg chg="del">
            <ac:chgData name="Florian Faller" userId="4e496f4204a626e3" providerId="LiveId" clId="{9A21812C-E53D-4018-A66F-CEBBCC2D158E}" dt="2025-04-23T20:37:20.689" v="9329" actId="478"/>
            <ac:spMkLst>
              <pc:docMk/>
              <pc:sldMasterMk cId="3634822058" sldId="2147483648"/>
              <pc:sldLayoutMk cId="3667042932" sldId="2147483674"/>
              <ac:spMk id="2" creationId="{DFFECFB3-5650-476F-BB54-8A2A45F8AE7F}"/>
            </ac:spMkLst>
          </pc:spChg>
          <pc:spChg chg="del">
            <ac:chgData name="Florian Faller" userId="4e496f4204a626e3" providerId="LiveId" clId="{9A21812C-E53D-4018-A66F-CEBBCC2D158E}" dt="2025-04-23T20:37:20.689" v="9329" actId="478"/>
            <ac:spMkLst>
              <pc:docMk/>
              <pc:sldMasterMk cId="3634822058" sldId="2147483648"/>
              <pc:sldLayoutMk cId="3667042932" sldId="2147483674"/>
              <ac:spMk id="11" creationId="{191453D1-9488-4F30-8223-1CB500BDC2F1}"/>
            </ac:spMkLst>
          </pc:spChg>
          <pc:spChg chg="del">
            <ac:chgData name="Florian Faller" userId="4e496f4204a626e3" providerId="LiveId" clId="{9A21812C-E53D-4018-A66F-CEBBCC2D158E}" dt="2025-04-23T20:37:20.689" v="9329" actId="478"/>
            <ac:spMkLst>
              <pc:docMk/>
              <pc:sldMasterMk cId="3634822058" sldId="2147483648"/>
              <pc:sldLayoutMk cId="3667042932" sldId="2147483674"/>
              <ac:spMk id="12" creationId="{4882AD8A-D4BD-4E12-8458-AC021F93B15C}"/>
            </ac:spMkLst>
          </pc:spChg>
          <pc:spChg chg="del">
            <ac:chgData name="Florian Faller" userId="4e496f4204a626e3" providerId="LiveId" clId="{9A21812C-E53D-4018-A66F-CEBBCC2D158E}" dt="2025-04-23T20:37:20.689" v="9329" actId="478"/>
            <ac:spMkLst>
              <pc:docMk/>
              <pc:sldMasterMk cId="3634822058" sldId="2147483648"/>
              <pc:sldLayoutMk cId="3667042932" sldId="2147483674"/>
              <ac:spMk id="13" creationId="{3DF3AAFC-DA9A-4A72-BBF9-5A097BC5950E}"/>
            </ac:spMkLst>
          </pc:spChg>
          <pc:spChg chg="del">
            <ac:chgData name="Florian Faller" userId="4e496f4204a626e3" providerId="LiveId" clId="{9A21812C-E53D-4018-A66F-CEBBCC2D158E}" dt="2025-04-23T20:37:20.689" v="9329" actId="478"/>
            <ac:spMkLst>
              <pc:docMk/>
              <pc:sldMasterMk cId="3634822058" sldId="2147483648"/>
              <pc:sldLayoutMk cId="3667042932" sldId="2147483674"/>
              <ac:spMk id="14" creationId="{2FF48EEE-6AEC-4E37-AD5C-EEB74BA0CEDB}"/>
            </ac:spMkLst>
          </pc:spChg>
          <pc:spChg chg="del">
            <ac:chgData name="Florian Faller" userId="4e496f4204a626e3" providerId="LiveId" clId="{9A21812C-E53D-4018-A66F-CEBBCC2D158E}" dt="2025-04-23T20:37:20.689" v="9329" actId="478"/>
            <ac:spMkLst>
              <pc:docMk/>
              <pc:sldMasterMk cId="3634822058" sldId="2147483648"/>
              <pc:sldLayoutMk cId="3667042932" sldId="2147483674"/>
              <ac:spMk id="15" creationId="{32066EA2-51F1-4F13-8E1B-89600E879074}"/>
            </ac:spMkLst>
          </pc:spChg>
          <pc:spChg chg="del">
            <ac:chgData name="Florian Faller" userId="4e496f4204a626e3" providerId="LiveId" clId="{9A21812C-E53D-4018-A66F-CEBBCC2D158E}" dt="2025-04-23T20:37:20.689" v="9329" actId="478"/>
            <ac:spMkLst>
              <pc:docMk/>
              <pc:sldMasterMk cId="3634822058" sldId="2147483648"/>
              <pc:sldLayoutMk cId="3667042932" sldId="2147483674"/>
              <ac:spMk id="16" creationId="{F14EBD1B-595C-4A54-92C8-3C5427E15C45}"/>
            </ac:spMkLst>
          </pc:spChg>
          <pc:spChg chg="del">
            <ac:chgData name="Florian Faller" userId="4e496f4204a626e3" providerId="LiveId" clId="{9A21812C-E53D-4018-A66F-CEBBCC2D158E}" dt="2025-04-23T20:37:20.689" v="9329" actId="478"/>
            <ac:spMkLst>
              <pc:docMk/>
              <pc:sldMasterMk cId="3634822058" sldId="2147483648"/>
              <pc:sldLayoutMk cId="3667042932" sldId="2147483674"/>
              <ac:spMk id="17" creationId="{B64F77B9-03A9-4E3E-B656-D3C0FBE25AB5}"/>
            </ac:spMkLst>
          </pc:spChg>
          <pc:graphicFrameChg chg="add mod ord modVis">
            <ac:chgData name="Florian Faller" userId="4e496f4204a626e3" providerId="LiveId" clId="{9A21812C-E53D-4018-A66F-CEBBCC2D158E}" dt="2025-04-23T20:37:21.445" v="9343"/>
            <ac:graphicFrameMkLst>
              <pc:docMk/>
              <pc:sldMasterMk cId="3634822058" sldId="2147483648"/>
              <pc:sldLayoutMk cId="3667042932" sldId="2147483674"/>
              <ac:graphicFrameMk id="7" creationId="{CD8F170F-AE26-18EA-F4C4-8C9C371EEE0E}"/>
            </ac:graphicFrameMkLst>
          </pc:graphicFrameChg>
          <pc:picChg chg="mod">
            <ac:chgData name="Florian Faller" userId="4e496f4204a626e3" providerId="LiveId" clId="{9A21812C-E53D-4018-A66F-CEBBCC2D158E}" dt="2025-04-23T20:37:17.381" v="9328" actId="1076"/>
            <ac:picMkLst>
              <pc:docMk/>
              <pc:sldMasterMk cId="3634822058" sldId="2147483648"/>
              <pc:sldLayoutMk cId="3667042932" sldId="2147483674"/>
              <ac:picMk id="6" creationId="{8D1F00DA-5D59-4EDE-BA9C-D312B3FBBAFD}"/>
            </ac:picMkLst>
          </pc:picChg>
        </pc:sldLayoutChg>
        <pc:sldLayoutChg chg="addSp delSp modSp add mod modTransition">
          <pc:chgData name="Florian Faller" userId="4e496f4204a626e3" providerId="LiveId" clId="{9A21812C-E53D-4018-A66F-CEBBCC2D158E}" dt="2025-04-24T08:23:14.212" v="14679"/>
          <pc:sldLayoutMkLst>
            <pc:docMk/>
            <pc:sldMasterMk cId="3634822058" sldId="2147483648"/>
            <pc:sldLayoutMk cId="3225710892" sldId="2147483675"/>
          </pc:sldLayoutMkLst>
          <pc:spChg chg="del">
            <ac:chgData name="Florian Faller" userId="4e496f4204a626e3" providerId="LiveId" clId="{9A21812C-E53D-4018-A66F-CEBBCC2D158E}" dt="2025-04-24T08:23:13.452" v="14665" actId="478"/>
            <ac:spMkLst>
              <pc:docMk/>
              <pc:sldMasterMk cId="3634822058" sldId="2147483648"/>
              <pc:sldLayoutMk cId="3225710892" sldId="2147483675"/>
              <ac:spMk id="16" creationId="{2A6B27A0-0449-46AE-A770-EBB281A1A953}"/>
            </ac:spMkLst>
          </pc:spChg>
          <pc:spChg chg="del">
            <ac:chgData name="Florian Faller" userId="4e496f4204a626e3" providerId="LiveId" clId="{9A21812C-E53D-4018-A66F-CEBBCC2D158E}" dt="2025-04-24T08:23:13.452" v="14665" actId="478"/>
            <ac:spMkLst>
              <pc:docMk/>
              <pc:sldMasterMk cId="3634822058" sldId="2147483648"/>
              <pc:sldLayoutMk cId="3225710892" sldId="2147483675"/>
              <ac:spMk id="27" creationId="{AF998D11-3FAA-4712-8C34-404C1BDCECBD}"/>
            </ac:spMkLst>
          </pc:spChg>
          <pc:spChg chg="del">
            <ac:chgData name="Florian Faller" userId="4e496f4204a626e3" providerId="LiveId" clId="{9A21812C-E53D-4018-A66F-CEBBCC2D158E}" dt="2025-04-24T08:23:13.452" v="14665" actId="478"/>
            <ac:spMkLst>
              <pc:docMk/>
              <pc:sldMasterMk cId="3634822058" sldId="2147483648"/>
              <pc:sldLayoutMk cId="3225710892" sldId="2147483675"/>
              <ac:spMk id="29" creationId="{0569AA0A-65D1-4456-9A14-327E6CE6DF6A}"/>
            </ac:spMkLst>
          </pc:spChg>
          <pc:spChg chg="del">
            <ac:chgData name="Florian Faller" userId="4e496f4204a626e3" providerId="LiveId" clId="{9A21812C-E53D-4018-A66F-CEBBCC2D158E}" dt="2025-04-24T08:23:13.452" v="14665" actId="478"/>
            <ac:spMkLst>
              <pc:docMk/>
              <pc:sldMasterMk cId="3634822058" sldId="2147483648"/>
              <pc:sldLayoutMk cId="3225710892" sldId="2147483675"/>
              <ac:spMk id="30" creationId="{028EB91C-9303-4EB3-886A-E5DA884A80FD}"/>
            </ac:spMkLst>
          </pc:spChg>
          <pc:spChg chg="del">
            <ac:chgData name="Florian Faller" userId="4e496f4204a626e3" providerId="LiveId" clId="{9A21812C-E53D-4018-A66F-CEBBCC2D158E}" dt="2025-04-24T08:23:13.452" v="14665" actId="478"/>
            <ac:spMkLst>
              <pc:docMk/>
              <pc:sldMasterMk cId="3634822058" sldId="2147483648"/>
              <pc:sldLayoutMk cId="3225710892" sldId="2147483675"/>
              <ac:spMk id="32" creationId="{378EEBEC-FDBD-4D14-ADCA-4C72B269E993}"/>
            </ac:spMkLst>
          </pc:spChg>
          <pc:spChg chg="del">
            <ac:chgData name="Florian Faller" userId="4e496f4204a626e3" providerId="LiveId" clId="{9A21812C-E53D-4018-A66F-CEBBCC2D158E}" dt="2025-04-24T08:23:13.452" v="14665" actId="478"/>
            <ac:spMkLst>
              <pc:docMk/>
              <pc:sldMasterMk cId="3634822058" sldId="2147483648"/>
              <pc:sldLayoutMk cId="3225710892" sldId="2147483675"/>
              <ac:spMk id="52" creationId="{C02572F8-1812-49D5-B24A-088659DE9FC7}"/>
            </ac:spMkLst>
          </pc:spChg>
          <pc:spChg chg="del">
            <ac:chgData name="Florian Faller" userId="4e496f4204a626e3" providerId="LiveId" clId="{9A21812C-E53D-4018-A66F-CEBBCC2D158E}" dt="2025-04-24T08:23:13.452" v="14665" actId="478"/>
            <ac:spMkLst>
              <pc:docMk/>
              <pc:sldMasterMk cId="3634822058" sldId="2147483648"/>
              <pc:sldLayoutMk cId="3225710892" sldId="2147483675"/>
              <ac:spMk id="54" creationId="{658BFCC4-C261-4874-8195-FDA3C5001E05}"/>
            </ac:spMkLst>
          </pc:spChg>
          <pc:spChg chg="del">
            <ac:chgData name="Florian Faller" userId="4e496f4204a626e3" providerId="LiveId" clId="{9A21812C-E53D-4018-A66F-CEBBCC2D158E}" dt="2025-04-24T08:23:13.452" v="14665" actId="478"/>
            <ac:spMkLst>
              <pc:docMk/>
              <pc:sldMasterMk cId="3634822058" sldId="2147483648"/>
              <pc:sldLayoutMk cId="3225710892" sldId="2147483675"/>
              <ac:spMk id="55" creationId="{158708C7-ABA0-43E5-BB89-A1B7B2C45233}"/>
            </ac:spMkLst>
          </pc:spChg>
          <pc:spChg chg="del">
            <ac:chgData name="Florian Faller" userId="4e496f4204a626e3" providerId="LiveId" clId="{9A21812C-E53D-4018-A66F-CEBBCC2D158E}" dt="2025-04-24T08:23:13.452" v="14665" actId="478"/>
            <ac:spMkLst>
              <pc:docMk/>
              <pc:sldMasterMk cId="3634822058" sldId="2147483648"/>
              <pc:sldLayoutMk cId="3225710892" sldId="2147483675"/>
              <ac:spMk id="56" creationId="{2AE59213-95B1-4597-AD8C-D55D96D561EA}"/>
            </ac:spMkLst>
          </pc:spChg>
          <pc:spChg chg="del">
            <ac:chgData name="Florian Faller" userId="4e496f4204a626e3" providerId="LiveId" clId="{9A21812C-E53D-4018-A66F-CEBBCC2D158E}" dt="2025-04-24T08:23:13.452" v="14665" actId="478"/>
            <ac:spMkLst>
              <pc:docMk/>
              <pc:sldMasterMk cId="3634822058" sldId="2147483648"/>
              <pc:sldLayoutMk cId="3225710892" sldId="2147483675"/>
              <ac:spMk id="59" creationId="{B2187073-BC0A-4137-A204-D35C44CD7F87}"/>
            </ac:spMkLst>
          </pc:spChg>
          <pc:graphicFrameChg chg="add mod ord modVis">
            <ac:chgData name="Florian Faller" userId="4e496f4204a626e3" providerId="LiveId" clId="{9A21812C-E53D-4018-A66F-CEBBCC2D158E}" dt="2025-04-24T08:23:14.212" v="14679"/>
            <ac:graphicFrameMkLst>
              <pc:docMk/>
              <pc:sldMasterMk cId="3634822058" sldId="2147483648"/>
              <pc:sldLayoutMk cId="3225710892" sldId="2147483675"/>
              <ac:graphicFrameMk id="6" creationId="{9FD812AB-5CC7-CC8A-7B95-5602C3D49F7F}"/>
            </ac:graphicFrameMkLst>
          </pc:graphicFrameChg>
        </pc:sldLayoutChg>
        <pc:sldLayoutChg chg="addSp delSp modSp add mod modTransition">
          <pc:chgData name="Florian Faller" userId="4e496f4204a626e3" providerId="LiveId" clId="{9A21812C-E53D-4018-A66F-CEBBCC2D158E}" dt="2025-04-24T09:10:41.346" v="16023" actId="478"/>
          <pc:sldLayoutMkLst>
            <pc:docMk/>
            <pc:sldMasterMk cId="3634822058" sldId="2147483648"/>
            <pc:sldLayoutMk cId="1889177006" sldId="2147483676"/>
          </pc:sldLayoutMkLst>
          <pc:spChg chg="mod ord">
            <ac:chgData name="Florian Faller" userId="4e496f4204a626e3" providerId="LiveId" clId="{9A21812C-E53D-4018-A66F-CEBBCC2D158E}" dt="2025-04-24T09:10:39.903" v="16016"/>
            <ac:spMkLst>
              <pc:docMk/>
              <pc:sldMasterMk cId="3634822058" sldId="2147483648"/>
              <pc:sldLayoutMk cId="1889177006" sldId="2147483676"/>
              <ac:spMk id="4" creationId="{A35C10F8-CB40-4BDD-AA21-7DDC300FE73E}"/>
            </ac:spMkLst>
          </pc:spChg>
          <pc:spChg chg="mod ord">
            <ac:chgData name="Florian Faller" userId="4e496f4204a626e3" providerId="LiveId" clId="{9A21812C-E53D-4018-A66F-CEBBCC2D158E}" dt="2025-04-24T09:10:39.919" v="16018"/>
            <ac:spMkLst>
              <pc:docMk/>
              <pc:sldMasterMk cId="3634822058" sldId="2147483648"/>
              <pc:sldLayoutMk cId="1889177006" sldId="2147483676"/>
              <ac:spMk id="5" creationId="{434969F5-F9D0-4A38-8C6C-86005388F51D}"/>
            </ac:spMkLst>
          </pc:spChg>
          <pc:spChg chg="mod ord">
            <ac:chgData name="Florian Faller" userId="4e496f4204a626e3" providerId="LiveId" clId="{9A21812C-E53D-4018-A66F-CEBBCC2D158E}" dt="2025-04-24T09:10:39.930" v="16020"/>
            <ac:spMkLst>
              <pc:docMk/>
              <pc:sldMasterMk cId="3634822058" sldId="2147483648"/>
              <pc:sldLayoutMk cId="1889177006" sldId="2147483676"/>
              <ac:spMk id="6" creationId="{7CC33B3F-10CE-4363-805C-361CA49414B4}"/>
            </ac:spMkLst>
          </pc:spChg>
          <pc:graphicFrameChg chg="mod">
            <ac:chgData name="Florian Faller" userId="4e496f4204a626e3" providerId="LiveId" clId="{9A21812C-E53D-4018-A66F-CEBBCC2D158E}" dt="2025-04-24T09:10:39.944" v="16022"/>
            <ac:graphicFrameMkLst>
              <pc:docMk/>
              <pc:sldMasterMk cId="3634822058" sldId="2147483648"/>
              <pc:sldLayoutMk cId="1889177006" sldId="2147483676"/>
              <ac:graphicFrameMk id="8" creationId="{1663AEBF-9F25-6417-6306-7E47D4F7C485}"/>
            </ac:graphicFrameMkLst>
          </pc:graphicFrameChg>
          <pc:picChg chg="del mod ord">
            <ac:chgData name="Florian Faller" userId="4e496f4204a626e3" providerId="LiveId" clId="{9A21812C-E53D-4018-A66F-CEBBCC2D158E}" dt="2025-04-24T09:10:41.346" v="16023" actId="478"/>
            <ac:picMkLst>
              <pc:docMk/>
              <pc:sldMasterMk cId="3634822058" sldId="2147483648"/>
              <pc:sldLayoutMk cId="1889177006" sldId="2147483676"/>
              <ac:picMk id="7" creationId="{A6C5B428-73D6-2B3D-DB0B-8DABB05794DA}"/>
            </ac:picMkLst>
          </pc:picChg>
          <pc:picChg chg="add mod">
            <ac:chgData name="Florian Faller" userId="4e496f4204a626e3" providerId="LiveId" clId="{9A21812C-E53D-4018-A66F-CEBBCC2D158E}" dt="2025-04-24T09:10:39.855" v="16012"/>
            <ac:picMkLst>
              <pc:docMk/>
              <pc:sldMasterMk cId="3634822058" sldId="2147483648"/>
              <pc:sldLayoutMk cId="1889177006" sldId="2147483676"/>
              <ac:picMk id="4098" creationId="{8574FA61-E150-7AC8-7A50-3E411B2AEBDB}"/>
            </ac:picMkLst>
          </pc:picChg>
        </pc:sldLayoutChg>
      </pc:sldMasterChg>
    </pc:docChg>
  </pc:docChgLst>
  <pc:docChgLst>
    <pc:chgData name="Gastbenutzer" providerId="Windows Live" clId="Web-{5E526AD5-9057-0489-A341-813E46FCF6D6}"/>
    <pc:docChg chg="addSld delSld modSld sldOrd modSection">
      <pc:chgData name="Gastbenutzer" userId="" providerId="Windows Live" clId="Web-{5E526AD5-9057-0489-A341-813E46FCF6D6}" dt="2025-04-23T18:44:10.123" v="401"/>
      <pc:docMkLst>
        <pc:docMk/>
      </pc:docMkLst>
      <pc:sldChg chg="addSp delSp modSp mod ord modShow">
        <pc:chgData name="Gastbenutzer" userId="" providerId="Windows Live" clId="Web-{5E526AD5-9057-0489-A341-813E46FCF6D6}" dt="2025-04-23T18:44:10.123" v="401"/>
        <pc:sldMkLst>
          <pc:docMk/>
          <pc:sldMk cId="3168340832" sldId="271"/>
        </pc:sldMkLst>
        <pc:spChg chg="add mod">
          <ac:chgData name="Gastbenutzer" userId="" providerId="Windows Live" clId="Web-{5E526AD5-9057-0489-A341-813E46FCF6D6}" dt="2025-04-23T18:44:00.889" v="400" actId="20577"/>
          <ac:spMkLst>
            <pc:docMk/>
            <pc:sldMk cId="3168340832" sldId="271"/>
            <ac:spMk id="3" creationId="{8E1EF600-9BF7-5A77-8DB8-F2726B56B176}"/>
          </ac:spMkLst>
        </pc:spChg>
        <pc:spChg chg="mod">
          <ac:chgData name="Gastbenutzer" userId="" providerId="Windows Live" clId="Web-{5E526AD5-9057-0489-A341-813E46FCF6D6}" dt="2025-04-23T18:35:30.024" v="341" actId="20577"/>
          <ac:spMkLst>
            <pc:docMk/>
            <pc:sldMk cId="3168340832" sldId="271"/>
            <ac:spMk id="19" creationId="{D103FBC2-93DA-4F24-B8BE-37966E29D590}"/>
          </ac:spMkLst>
        </pc:spChg>
        <pc:graphicFrameChg chg="del">
          <ac:chgData name="Gastbenutzer" userId="" providerId="Windows Live" clId="Web-{5E526AD5-9057-0489-A341-813E46FCF6D6}" dt="2025-04-23T17:25:04.786" v="239"/>
          <ac:graphicFrameMkLst>
            <pc:docMk/>
            <pc:sldMk cId="3168340832" sldId="271"/>
            <ac:graphicFrameMk id="42" creationId="{34ACB7E3-8F86-4C0E-9748-3F10EBD66EC9}"/>
          </ac:graphicFrameMkLst>
        </pc:graphicFrameChg>
        <pc:picChg chg="add del">
          <ac:chgData name="Gastbenutzer" userId="" providerId="Windows Live" clId="Web-{5E526AD5-9057-0489-A341-813E46FCF6D6}" dt="2025-04-23T18:36:57.636" v="377"/>
          <ac:picMkLst>
            <pc:docMk/>
            <pc:sldMk cId="3168340832" sldId="271"/>
            <ac:picMk id="4" creationId="{2844B405-3CFC-AF47-0C84-78D4C82F5D01}"/>
          </ac:picMkLst>
        </pc:picChg>
      </pc:sldChg>
      <pc:sldChg chg="addSp delSp modSp ord">
        <pc:chgData name="Gastbenutzer" userId="" providerId="Windows Live" clId="Web-{5E526AD5-9057-0489-A341-813E46FCF6D6}" dt="2025-04-23T18:43:25.919" v="396" actId="1076"/>
        <pc:sldMkLst>
          <pc:docMk/>
          <pc:sldMk cId="1319198600" sldId="286"/>
        </pc:sldMkLst>
        <pc:spChg chg="add mod">
          <ac:chgData name="Gastbenutzer" userId="" providerId="Windows Live" clId="Web-{5E526AD5-9057-0489-A341-813E46FCF6D6}" dt="2025-04-23T18:34:28.725" v="322"/>
          <ac:spMkLst>
            <pc:docMk/>
            <pc:sldMk cId="1319198600" sldId="286"/>
            <ac:spMk id="3" creationId="{F46C185A-CC6C-8120-164B-9E273F0CB25D}"/>
          </ac:spMkLst>
        </pc:spChg>
        <pc:spChg chg="mod">
          <ac:chgData name="Gastbenutzer" userId="" providerId="Windows Live" clId="Web-{5E526AD5-9057-0489-A341-813E46FCF6D6}" dt="2025-04-23T16:25:48.468" v="189" actId="20577"/>
          <ac:spMkLst>
            <pc:docMk/>
            <pc:sldMk cId="1319198600" sldId="286"/>
            <ac:spMk id="9" creationId="{8FF2AD7E-F0A2-ECFB-D2F3-81261DA61946}"/>
          </ac:spMkLst>
        </pc:spChg>
        <pc:spChg chg="mod">
          <ac:chgData name="Gastbenutzer" userId="" providerId="Windows Live" clId="Web-{5E526AD5-9057-0489-A341-813E46FCF6D6}" dt="2025-04-23T15:15:37.506" v="34" actId="1076"/>
          <ac:spMkLst>
            <pc:docMk/>
            <pc:sldMk cId="1319198600" sldId="286"/>
            <ac:spMk id="12" creationId="{93AA2321-CBEE-E4CC-BE9E-E3A702436DDB}"/>
          </ac:spMkLst>
        </pc:spChg>
        <pc:picChg chg="add del mod">
          <ac:chgData name="Gastbenutzer" userId="" providerId="Windows Live" clId="Web-{5E526AD5-9057-0489-A341-813E46FCF6D6}" dt="2025-04-23T18:37:56.185" v="393"/>
          <ac:picMkLst>
            <pc:docMk/>
            <pc:sldMk cId="1319198600" sldId="286"/>
            <ac:picMk id="5" creationId="{C864BA79-CD4E-8AD4-58AF-3E5642506519}"/>
          </ac:picMkLst>
        </pc:picChg>
        <pc:picChg chg="add mod">
          <ac:chgData name="Gastbenutzer" userId="" providerId="Windows Live" clId="Web-{5E526AD5-9057-0489-A341-813E46FCF6D6}" dt="2025-04-23T18:43:25.919" v="396" actId="1076"/>
          <ac:picMkLst>
            <pc:docMk/>
            <pc:sldMk cId="1319198600" sldId="286"/>
            <ac:picMk id="7" creationId="{A82305C4-EEE3-0F53-24A2-87780F640D29}"/>
          </ac:picMkLst>
        </pc:picChg>
        <pc:picChg chg="del">
          <ac:chgData name="Gastbenutzer" userId="" providerId="Windows Live" clId="Web-{5E526AD5-9057-0489-A341-813E46FCF6D6}" dt="2025-04-23T18:34:28.725" v="322"/>
          <ac:picMkLst>
            <pc:docMk/>
            <pc:sldMk cId="1319198600" sldId="286"/>
            <ac:picMk id="14" creationId="{D915D36D-8BCB-F8FE-F966-E38FD74D124D}"/>
          </ac:picMkLst>
        </pc:picChg>
      </pc:sldChg>
      <pc:sldChg chg="modSp ord">
        <pc:chgData name="Gastbenutzer" userId="" providerId="Windows Live" clId="Web-{5E526AD5-9057-0489-A341-813E46FCF6D6}" dt="2025-04-23T17:25:32.396" v="240"/>
        <pc:sldMkLst>
          <pc:docMk/>
          <pc:sldMk cId="2387142617" sldId="287"/>
        </pc:sldMkLst>
        <pc:spChg chg="mod">
          <ac:chgData name="Gastbenutzer" userId="" providerId="Windows Live" clId="Web-{5E526AD5-9057-0489-A341-813E46FCF6D6}" dt="2025-04-23T16:21:50.720" v="131" actId="20577"/>
          <ac:spMkLst>
            <pc:docMk/>
            <pc:sldMk cId="2387142617" sldId="287"/>
            <ac:spMk id="31" creationId="{442482C6-1EDE-2906-76DE-4E92852F0A33}"/>
          </ac:spMkLst>
        </pc:spChg>
      </pc:sldChg>
      <pc:sldChg chg="addSp delSp modSp">
        <pc:chgData name="Gastbenutzer" userId="" providerId="Windows Live" clId="Web-{5E526AD5-9057-0489-A341-813E46FCF6D6}" dt="2025-04-23T16:32:10.349" v="191"/>
        <pc:sldMkLst>
          <pc:docMk/>
          <pc:sldMk cId="4096813568" sldId="289"/>
        </pc:sldMkLst>
        <pc:picChg chg="add del mod">
          <ac:chgData name="Gastbenutzer" userId="" providerId="Windows Live" clId="Web-{5E526AD5-9057-0489-A341-813E46FCF6D6}" dt="2025-04-23T16:32:10.349" v="191"/>
          <ac:picMkLst>
            <pc:docMk/>
            <pc:sldMk cId="4096813568" sldId="289"/>
            <ac:picMk id="12" creationId="{099887AF-86AB-9AAE-1384-5A07E8C942EA}"/>
          </ac:picMkLst>
        </pc:picChg>
      </pc:sldChg>
      <pc:sldChg chg="modSp">
        <pc:chgData name="Gastbenutzer" userId="" providerId="Windows Live" clId="Web-{5E526AD5-9057-0489-A341-813E46FCF6D6}" dt="2025-04-23T15:48:13.697" v="114" actId="20577"/>
        <pc:sldMkLst>
          <pc:docMk/>
          <pc:sldMk cId="2581491301" sldId="291"/>
        </pc:sldMkLst>
        <pc:spChg chg="mod">
          <ac:chgData name="Gastbenutzer" userId="" providerId="Windows Live" clId="Web-{5E526AD5-9057-0489-A341-813E46FCF6D6}" dt="2025-04-23T15:48:13.697" v="114" actId="20577"/>
          <ac:spMkLst>
            <pc:docMk/>
            <pc:sldMk cId="2581491301" sldId="291"/>
            <ac:spMk id="34" creationId="{29F621E5-6136-6299-1988-893896CD915B}"/>
          </ac:spMkLst>
        </pc:spChg>
      </pc:sldChg>
      <pc:sldChg chg="del">
        <pc:chgData name="Gastbenutzer" userId="" providerId="Windows Live" clId="Web-{5E526AD5-9057-0489-A341-813E46FCF6D6}" dt="2025-04-23T15:17:20.622" v="64"/>
        <pc:sldMkLst>
          <pc:docMk/>
          <pc:sldMk cId="2331572484" sldId="296"/>
        </pc:sldMkLst>
      </pc:sldChg>
      <pc:sldChg chg="addSp delSp modSp del mod setBg">
        <pc:chgData name="Gastbenutzer" userId="" providerId="Windows Live" clId="Web-{5E526AD5-9057-0489-A341-813E46FCF6D6}" dt="2025-04-23T15:47:45.305" v="100"/>
        <pc:sldMkLst>
          <pc:docMk/>
          <pc:sldMk cId="1284072402" sldId="298"/>
        </pc:sldMkLst>
        <pc:spChg chg="del">
          <ac:chgData name="Gastbenutzer" userId="" providerId="Windows Live" clId="Web-{5E526AD5-9057-0489-A341-813E46FCF6D6}" dt="2025-04-23T15:21:28.777" v="66"/>
          <ac:spMkLst>
            <pc:docMk/>
            <pc:sldMk cId="1284072402" sldId="298"/>
            <ac:spMk id="6" creationId="{727E1E1C-E79B-0B56-A3D3-3585DBA988D8}"/>
          </ac:spMkLst>
        </pc:spChg>
        <pc:spChg chg="del">
          <ac:chgData name="Gastbenutzer" userId="" providerId="Windows Live" clId="Web-{5E526AD5-9057-0489-A341-813E46FCF6D6}" dt="2025-04-23T15:21:28.777" v="65"/>
          <ac:spMkLst>
            <pc:docMk/>
            <pc:sldMk cId="1284072402" sldId="298"/>
            <ac:spMk id="8" creationId="{312827AF-EE6C-9097-37A5-820542016F29}"/>
          </ac:spMkLst>
        </pc:spChg>
        <pc:spChg chg="add del">
          <ac:chgData name="Gastbenutzer" userId="" providerId="Windows Live" clId="Web-{5E526AD5-9057-0489-A341-813E46FCF6D6}" dt="2025-04-23T15:21:54.903" v="68"/>
          <ac:spMkLst>
            <pc:docMk/>
            <pc:sldMk cId="1284072402" sldId="298"/>
            <ac:spMk id="9" creationId="{40D04240-394E-F3D4-1B98-A918C12FC558}"/>
          </ac:spMkLst>
        </pc:spChg>
        <pc:picChg chg="add del mod">
          <ac:chgData name="Gastbenutzer" userId="" providerId="Windows Live" clId="Web-{5E526AD5-9057-0489-A341-813E46FCF6D6}" dt="2025-04-23T15:43:21.337" v="90"/>
          <ac:picMkLst>
            <pc:docMk/>
            <pc:sldMk cId="1284072402" sldId="298"/>
            <ac:picMk id="10" creationId="{F58263DB-2F16-80B5-413A-805FEF5BA696}"/>
          </ac:picMkLst>
        </pc:picChg>
        <pc:picChg chg="add del mod">
          <ac:chgData name="Gastbenutzer" userId="" providerId="Windows Live" clId="Web-{5E526AD5-9057-0489-A341-813E46FCF6D6}" dt="2025-04-23T15:44:45.655" v="97"/>
          <ac:picMkLst>
            <pc:docMk/>
            <pc:sldMk cId="1284072402" sldId="298"/>
            <ac:picMk id="11" creationId="{275B43EF-85CA-26CE-5952-344606666141}"/>
          </ac:picMkLst>
        </pc:picChg>
      </pc:sldChg>
      <pc:sldChg chg="addSp delSp modSp">
        <pc:chgData name="Gastbenutzer" userId="" providerId="Windows Live" clId="Web-{5E526AD5-9057-0489-A341-813E46FCF6D6}" dt="2025-04-23T16:55:24.726" v="228" actId="14100"/>
        <pc:sldMkLst>
          <pc:docMk/>
          <pc:sldMk cId="4096166175" sldId="300"/>
        </pc:sldMkLst>
        <pc:spChg chg="add del mod">
          <ac:chgData name="Gastbenutzer" userId="" providerId="Windows Live" clId="Web-{5E526AD5-9057-0489-A341-813E46FCF6D6}" dt="2025-04-23T14:36:05.726" v="9"/>
          <ac:spMkLst>
            <pc:docMk/>
            <pc:sldMk cId="4096166175" sldId="300"/>
            <ac:spMk id="7" creationId="{C9F9188B-2C1E-0814-B678-1127AD371381}"/>
          </ac:spMkLst>
        </pc:spChg>
        <pc:spChg chg="mod">
          <ac:chgData name="Gastbenutzer" userId="" providerId="Windows Live" clId="Web-{5E526AD5-9057-0489-A341-813E46FCF6D6}" dt="2025-04-23T16:49:33.237" v="208" actId="1076"/>
          <ac:spMkLst>
            <pc:docMk/>
            <pc:sldMk cId="4096166175" sldId="300"/>
            <ac:spMk id="18" creationId="{37FE727B-0369-ADBC-8639-1271ED36663A}"/>
          </ac:spMkLst>
        </pc:spChg>
        <pc:spChg chg="mod">
          <ac:chgData name="Gastbenutzer" userId="" providerId="Windows Live" clId="Web-{5E526AD5-9057-0489-A341-813E46FCF6D6}" dt="2025-04-23T16:51:24.056" v="210" actId="20577"/>
          <ac:spMkLst>
            <pc:docMk/>
            <pc:sldMk cId="4096166175" sldId="300"/>
            <ac:spMk id="25" creationId="{0675717D-08A4-25D9-06F3-B613CA9D2BB4}"/>
          </ac:spMkLst>
        </pc:spChg>
        <pc:spChg chg="mod">
          <ac:chgData name="Gastbenutzer" userId="" providerId="Windows Live" clId="Web-{5E526AD5-9057-0489-A341-813E46FCF6D6}" dt="2025-04-23T16:52:55.968" v="220" actId="14100"/>
          <ac:spMkLst>
            <pc:docMk/>
            <pc:sldMk cId="4096166175" sldId="300"/>
            <ac:spMk id="37" creationId="{2F69954C-455C-B644-8167-51C14431D45A}"/>
          </ac:spMkLst>
        </pc:spChg>
        <pc:picChg chg="add mod">
          <ac:chgData name="Gastbenutzer" userId="" providerId="Windows Live" clId="Web-{5E526AD5-9057-0489-A341-813E46FCF6D6}" dt="2025-04-23T14:29:18.787" v="5" actId="1076"/>
          <ac:picMkLst>
            <pc:docMk/>
            <pc:sldMk cId="4096166175" sldId="300"/>
            <ac:picMk id="2" creationId="{CA740DA4-B4CB-B17E-4E2A-1793BEC92910}"/>
          </ac:picMkLst>
        </pc:picChg>
        <pc:picChg chg="del">
          <ac:chgData name="Gastbenutzer" userId="" providerId="Windows Live" clId="Web-{5E526AD5-9057-0489-A341-813E46FCF6D6}" dt="2025-04-23T14:28:25.051" v="0"/>
          <ac:picMkLst>
            <pc:docMk/>
            <pc:sldMk cId="4096166175" sldId="300"/>
            <ac:picMk id="3" creationId="{A7B0BCC5-1BFA-2825-2FB0-5A695CE748CC}"/>
          </ac:picMkLst>
        </pc:picChg>
        <pc:picChg chg="add mod">
          <ac:chgData name="Gastbenutzer" userId="" providerId="Windows Live" clId="Web-{5E526AD5-9057-0489-A341-813E46FCF6D6}" dt="2025-04-23T16:32:24.272" v="194" actId="14100"/>
          <ac:picMkLst>
            <pc:docMk/>
            <pc:sldMk cId="4096166175" sldId="300"/>
            <ac:picMk id="3" creationId="{DB94EFAA-FDBF-4269-BCC0-FDB00841C79E}"/>
          </ac:picMkLst>
        </pc:picChg>
        <pc:picChg chg="add mod">
          <ac:chgData name="Gastbenutzer" userId="" providerId="Windows Live" clId="Web-{5E526AD5-9057-0489-A341-813E46FCF6D6}" dt="2025-04-23T16:41:41.820" v="196" actId="1076"/>
          <ac:picMkLst>
            <pc:docMk/>
            <pc:sldMk cId="4096166175" sldId="300"/>
            <ac:picMk id="7" creationId="{256CB135-0B10-99FA-7B9F-C8F8ABECF702}"/>
          </ac:picMkLst>
        </pc:picChg>
        <pc:picChg chg="del">
          <ac:chgData name="Gastbenutzer" userId="" providerId="Windows Live" clId="Web-{5E526AD5-9057-0489-A341-813E46FCF6D6}" dt="2025-04-23T16:54:29.551" v="221"/>
          <ac:picMkLst>
            <pc:docMk/>
            <pc:sldMk cId="4096166175" sldId="300"/>
            <ac:picMk id="10" creationId="{B71924C8-85C0-F7AD-EE7E-692D12B91270}"/>
          </ac:picMkLst>
        </pc:picChg>
        <pc:picChg chg="del">
          <ac:chgData name="Gastbenutzer" userId="" providerId="Windows Live" clId="Web-{5E526AD5-9057-0489-A341-813E46FCF6D6}" dt="2025-04-23T16:48:34.234" v="203"/>
          <ac:picMkLst>
            <pc:docMk/>
            <pc:sldMk cId="4096166175" sldId="300"/>
            <ac:picMk id="11" creationId="{FC6C07BD-D8B1-4D48-3B6C-2CFDAB4C01FA}"/>
          </ac:picMkLst>
        </pc:picChg>
        <pc:picChg chg="add mod">
          <ac:chgData name="Gastbenutzer" userId="" providerId="Windows Live" clId="Web-{5E526AD5-9057-0489-A341-813E46FCF6D6}" dt="2025-04-23T14:36:38.634" v="13" actId="1076"/>
          <ac:picMkLst>
            <pc:docMk/>
            <pc:sldMk cId="4096166175" sldId="300"/>
            <ac:picMk id="12" creationId="{BD567318-DCA6-7340-9423-8E5EF971500E}"/>
          </ac:picMkLst>
        </pc:picChg>
        <pc:picChg chg="mod">
          <ac:chgData name="Gastbenutzer" userId="" providerId="Windows Live" clId="Web-{5E526AD5-9057-0489-A341-813E46FCF6D6}" dt="2025-04-23T14:29:13.068" v="3" actId="1076"/>
          <ac:picMkLst>
            <pc:docMk/>
            <pc:sldMk cId="4096166175" sldId="300"/>
            <ac:picMk id="14" creationId="{BC5E429F-B420-8D4A-00B9-9A054D39D2DF}"/>
          </ac:picMkLst>
        </pc:picChg>
        <pc:picChg chg="add mod">
          <ac:chgData name="Gastbenutzer" userId="" providerId="Windows Live" clId="Web-{5E526AD5-9057-0489-A341-813E46FCF6D6}" dt="2025-04-23T16:47:51.231" v="201" actId="14100"/>
          <ac:picMkLst>
            <pc:docMk/>
            <pc:sldMk cId="4096166175" sldId="300"/>
            <ac:picMk id="21" creationId="{74FBD4AD-2343-549C-F45C-57693316F9B7}"/>
          </ac:picMkLst>
        </pc:picChg>
        <pc:picChg chg="add mod">
          <ac:chgData name="Gastbenutzer" userId="" providerId="Windows Live" clId="Web-{5E526AD5-9057-0489-A341-813E46FCF6D6}" dt="2025-04-23T16:48:53.344" v="207" actId="14100"/>
          <ac:picMkLst>
            <pc:docMk/>
            <pc:sldMk cId="4096166175" sldId="300"/>
            <ac:picMk id="22" creationId="{BDBBD90C-8C46-43CC-F6F5-967CD64D6399}"/>
          </ac:picMkLst>
        </pc:picChg>
        <pc:picChg chg="add mod modCrop">
          <ac:chgData name="Gastbenutzer" userId="" providerId="Windows Live" clId="Web-{5E526AD5-9057-0489-A341-813E46FCF6D6}" dt="2025-04-23T16:55:24.726" v="228" actId="14100"/>
          <ac:picMkLst>
            <pc:docMk/>
            <pc:sldMk cId="4096166175" sldId="300"/>
            <ac:picMk id="23" creationId="{1847E2BA-2CCB-4064-2663-7FC219EA9E75}"/>
          </ac:picMkLst>
        </pc:picChg>
      </pc:sldChg>
      <pc:sldChg chg="addSp">
        <pc:chgData name="Gastbenutzer" userId="" providerId="Windows Live" clId="Web-{5E526AD5-9057-0489-A341-813E46FCF6D6}" dt="2025-04-23T15:46:27.785" v="99"/>
        <pc:sldMkLst>
          <pc:docMk/>
          <pc:sldMk cId="3158657558" sldId="304"/>
        </pc:sldMkLst>
        <pc:spChg chg="add">
          <ac:chgData name="Gastbenutzer" userId="" providerId="Windows Live" clId="Web-{5E526AD5-9057-0489-A341-813E46FCF6D6}" dt="2025-04-23T15:46:27.769" v="98"/>
          <ac:spMkLst>
            <pc:docMk/>
            <pc:sldMk cId="3158657558" sldId="304"/>
            <ac:spMk id="6" creationId="{FD24423F-92C9-FD16-7383-04C2D2731B99}"/>
          </ac:spMkLst>
        </pc:spChg>
        <pc:spChg chg="add">
          <ac:chgData name="Gastbenutzer" userId="" providerId="Windows Live" clId="Web-{5E526AD5-9057-0489-A341-813E46FCF6D6}" dt="2025-04-23T15:46:27.785" v="99"/>
          <ac:spMkLst>
            <pc:docMk/>
            <pc:sldMk cId="3158657558" sldId="304"/>
            <ac:spMk id="8" creationId="{FB97AD20-6357-F108-AA7A-A19B49F5E8A5}"/>
          </ac:spMkLst>
        </pc:spChg>
      </pc:sldChg>
      <pc:sldChg chg="del">
        <pc:chgData name="Gastbenutzer" userId="" providerId="Windows Live" clId="Web-{5E526AD5-9057-0489-A341-813E46FCF6D6}" dt="2025-04-23T16:24:37.089" v="172"/>
        <pc:sldMkLst>
          <pc:docMk/>
          <pc:sldMk cId="789098323" sldId="306"/>
        </pc:sldMkLst>
      </pc:sldChg>
      <pc:sldChg chg="modSp add del replId">
        <pc:chgData name="Gastbenutzer" userId="" providerId="Windows Live" clId="Web-{5E526AD5-9057-0489-A341-813E46FCF6D6}" dt="2025-04-23T16:24:52.277" v="178"/>
        <pc:sldMkLst>
          <pc:docMk/>
          <pc:sldMk cId="1847514823" sldId="307"/>
        </pc:sldMkLst>
        <pc:spChg chg="mod">
          <ac:chgData name="Gastbenutzer" userId="" providerId="Windows Live" clId="Web-{5E526AD5-9057-0489-A341-813E46FCF6D6}" dt="2025-04-23T16:22:22.800" v="139" actId="20577"/>
          <ac:spMkLst>
            <pc:docMk/>
            <pc:sldMk cId="1847514823" sldId="307"/>
            <ac:spMk id="2" creationId="{B8C1FD5B-8262-32AB-9486-27A150E34349}"/>
          </ac:spMkLst>
        </pc:spChg>
      </pc:sldChg>
      <pc:sldChg chg="modSp add del replId">
        <pc:chgData name="Gastbenutzer" userId="" providerId="Windows Live" clId="Web-{5E526AD5-9057-0489-A341-813E46FCF6D6}" dt="2025-04-23T16:24:54.496" v="179"/>
        <pc:sldMkLst>
          <pc:docMk/>
          <pc:sldMk cId="2434806184" sldId="308"/>
        </pc:sldMkLst>
        <pc:spChg chg="mod">
          <ac:chgData name="Gastbenutzer" userId="" providerId="Windows Live" clId="Web-{5E526AD5-9057-0489-A341-813E46FCF6D6}" dt="2025-04-23T16:22:50.864" v="153" actId="20577"/>
          <ac:spMkLst>
            <pc:docMk/>
            <pc:sldMk cId="2434806184" sldId="308"/>
            <ac:spMk id="2" creationId="{F8BBE993-4BC7-7583-AB2A-D9BA53AB4214}"/>
          </ac:spMkLst>
        </pc:spChg>
      </pc:sldChg>
      <pc:sldChg chg="modSp add replId">
        <pc:chgData name="Gastbenutzer" userId="" providerId="Windows Live" clId="Web-{5E526AD5-9057-0489-A341-813E46FCF6D6}" dt="2025-04-23T16:24:33.198" v="171" actId="20577"/>
        <pc:sldMkLst>
          <pc:docMk/>
          <pc:sldMk cId="2544704836" sldId="309"/>
        </pc:sldMkLst>
        <pc:spChg chg="mod">
          <ac:chgData name="Gastbenutzer" userId="" providerId="Windows Live" clId="Web-{5E526AD5-9057-0489-A341-813E46FCF6D6}" dt="2025-04-23T16:24:33.198" v="171" actId="20577"/>
          <ac:spMkLst>
            <pc:docMk/>
            <pc:sldMk cId="2544704836" sldId="309"/>
            <ac:spMk id="2" creationId="{38829488-C6FF-8B76-7DCF-8FEDCE0C15CF}"/>
          </ac:spMkLst>
        </pc:spChg>
      </pc:sldChg>
      <pc:sldChg chg="modSp add replId">
        <pc:chgData name="Gastbenutzer" userId="" providerId="Windows Live" clId="Web-{5E526AD5-9057-0489-A341-813E46FCF6D6}" dt="2025-04-23T16:24:47.042" v="177" actId="20577"/>
        <pc:sldMkLst>
          <pc:docMk/>
          <pc:sldMk cId="3250734478" sldId="310"/>
        </pc:sldMkLst>
        <pc:spChg chg="mod">
          <ac:chgData name="Gastbenutzer" userId="" providerId="Windows Live" clId="Web-{5E526AD5-9057-0489-A341-813E46FCF6D6}" dt="2025-04-23T16:24:47.042" v="177" actId="20577"/>
          <ac:spMkLst>
            <pc:docMk/>
            <pc:sldMk cId="3250734478" sldId="310"/>
            <ac:spMk id="2" creationId="{8C55F012-2556-6B79-F9B8-E683C257B7E6}"/>
          </ac:spMkLst>
        </pc:spChg>
      </pc:sldChg>
      <pc:sldChg chg="modSp add replId">
        <pc:chgData name="Gastbenutzer" userId="" providerId="Windows Live" clId="Web-{5E526AD5-9057-0489-A341-813E46FCF6D6}" dt="2025-04-23T16:25:04.121" v="188" actId="20577"/>
        <pc:sldMkLst>
          <pc:docMk/>
          <pc:sldMk cId="925700069" sldId="311"/>
        </pc:sldMkLst>
        <pc:spChg chg="mod">
          <ac:chgData name="Gastbenutzer" userId="" providerId="Windows Live" clId="Web-{5E526AD5-9057-0489-A341-813E46FCF6D6}" dt="2025-04-23T16:25:04.121" v="188" actId="20577"/>
          <ac:spMkLst>
            <pc:docMk/>
            <pc:sldMk cId="925700069" sldId="311"/>
            <ac:spMk id="2" creationId="{4F8E5849-93B1-665D-2D22-56909A167917}"/>
          </ac:spMkLst>
        </pc:spChg>
      </pc:sldChg>
      <pc:sldChg chg="addSp delSp modSp add del replId">
        <pc:chgData name="Gastbenutzer" userId="" providerId="Windows Live" clId="Web-{5E526AD5-9057-0489-A341-813E46FCF6D6}" dt="2025-04-23T16:57:09.310" v="231"/>
        <pc:sldMkLst>
          <pc:docMk/>
          <pc:sldMk cId="1704896070" sldId="313"/>
        </pc:sldMkLst>
        <pc:spChg chg="del">
          <ac:chgData name="Gastbenutzer" userId="" providerId="Windows Live" clId="Web-{5E526AD5-9057-0489-A341-813E46FCF6D6}" dt="2025-04-23T16:56:03.291" v="230"/>
          <ac:spMkLst>
            <pc:docMk/>
            <pc:sldMk cId="1704896070" sldId="313"/>
            <ac:spMk id="8" creationId="{04B3C7D4-9CF3-B347-F949-47F8D441F988}"/>
          </ac:spMkLst>
        </pc:spChg>
        <pc:spChg chg="add mod">
          <ac:chgData name="Gastbenutzer" userId="" providerId="Windows Live" clId="Web-{5E526AD5-9057-0489-A341-813E46FCF6D6}" dt="2025-04-23T16:56:03.291" v="230"/>
          <ac:spMkLst>
            <pc:docMk/>
            <pc:sldMk cId="1704896070" sldId="313"/>
            <ac:spMk id="11" creationId="{ADC5396A-16F1-2303-B36C-F4B7C8ADEC60}"/>
          </ac:spMkLst>
        </pc:spChg>
      </pc:sldChg>
      <pc:sldChg chg="addSp delSp modSp">
        <pc:chgData name="Gastbenutzer" userId="" providerId="Windows Live" clId="Web-{5E526AD5-9057-0489-A341-813E46FCF6D6}" dt="2025-04-23T18:31:26.341" v="318" actId="1076"/>
        <pc:sldMkLst>
          <pc:docMk/>
          <pc:sldMk cId="1338676740" sldId="314"/>
        </pc:sldMkLst>
        <pc:spChg chg="add mod">
          <ac:chgData name="Gastbenutzer" userId="" providerId="Windows Live" clId="Web-{5E526AD5-9057-0489-A341-813E46FCF6D6}" dt="2025-04-23T18:31:14.215" v="316" actId="1076"/>
          <ac:spMkLst>
            <pc:docMk/>
            <pc:sldMk cId="1338676740" sldId="314"/>
            <ac:spMk id="6" creationId="{374A944C-8CC9-8BFC-164F-83A85A3B7CF4}"/>
          </ac:spMkLst>
        </pc:spChg>
        <pc:spChg chg="add mod">
          <ac:chgData name="Gastbenutzer" userId="" providerId="Windows Live" clId="Web-{5E526AD5-9057-0489-A341-813E46FCF6D6}" dt="2025-04-23T18:31:22.684" v="317" actId="1076"/>
          <ac:spMkLst>
            <pc:docMk/>
            <pc:sldMk cId="1338676740" sldId="314"/>
            <ac:spMk id="7" creationId="{7AFC1E49-2405-E12A-5505-E377091BD669}"/>
          </ac:spMkLst>
        </pc:spChg>
        <pc:spChg chg="mod">
          <ac:chgData name="Gastbenutzer" userId="" providerId="Windows Live" clId="Web-{5E526AD5-9057-0489-A341-813E46FCF6D6}" dt="2025-04-23T18:29:39.603" v="297" actId="1076"/>
          <ac:spMkLst>
            <pc:docMk/>
            <pc:sldMk cId="1338676740" sldId="314"/>
            <ac:spMk id="19" creationId="{9008F404-F391-6D88-B17E-1C5DB703442C}"/>
          </ac:spMkLst>
        </pc:spChg>
        <pc:spChg chg="mod">
          <ac:chgData name="Gastbenutzer" userId="" providerId="Windows Live" clId="Web-{5E526AD5-9057-0489-A341-813E46FCF6D6}" dt="2025-04-23T18:29:39.619" v="298" actId="1076"/>
          <ac:spMkLst>
            <pc:docMk/>
            <pc:sldMk cId="1338676740" sldId="314"/>
            <ac:spMk id="23" creationId="{A8E9E532-3A83-0D69-062F-1788EBFD9148}"/>
          </ac:spMkLst>
        </pc:spChg>
        <pc:spChg chg="mod">
          <ac:chgData name="Gastbenutzer" userId="" providerId="Windows Live" clId="Web-{5E526AD5-9057-0489-A341-813E46FCF6D6}" dt="2025-04-23T18:30:45.027" v="311" actId="1076"/>
          <ac:spMkLst>
            <pc:docMk/>
            <pc:sldMk cId="1338676740" sldId="314"/>
            <ac:spMk id="40" creationId="{FBE4F681-00DD-F15C-5633-6C27E4FDB31A}"/>
          </ac:spMkLst>
        </pc:spChg>
        <pc:spChg chg="mod">
          <ac:chgData name="Gastbenutzer" userId="" providerId="Windows Live" clId="Web-{5E526AD5-9057-0489-A341-813E46FCF6D6}" dt="2025-04-23T18:31:06.481" v="315" actId="14100"/>
          <ac:spMkLst>
            <pc:docMk/>
            <pc:sldMk cId="1338676740" sldId="314"/>
            <ac:spMk id="41" creationId="{C8F076CE-FD90-B176-B2FE-E279AE523D9C}"/>
          </ac:spMkLst>
        </pc:spChg>
        <pc:grpChg chg="mod">
          <ac:chgData name="Gastbenutzer" userId="" providerId="Windows Live" clId="Web-{5E526AD5-9057-0489-A341-813E46FCF6D6}" dt="2025-04-23T18:29:39.634" v="299" actId="1076"/>
          <ac:grpSpMkLst>
            <pc:docMk/>
            <pc:sldMk cId="1338676740" sldId="314"/>
            <ac:grpSpMk id="37" creationId="{4C6618E8-0417-3DCD-05BF-2E84C928C469}"/>
          </ac:grpSpMkLst>
        </pc:grpChg>
        <pc:grpChg chg="mod">
          <ac:chgData name="Gastbenutzer" userId="" providerId="Windows Live" clId="Web-{5E526AD5-9057-0489-A341-813E46FCF6D6}" dt="2025-04-23T18:29:39.650" v="300" actId="1076"/>
          <ac:grpSpMkLst>
            <pc:docMk/>
            <pc:sldMk cId="1338676740" sldId="314"/>
            <ac:grpSpMk id="38" creationId="{32169D02-5A72-B70C-5650-9A47570CD235}"/>
          </ac:grpSpMkLst>
        </pc:grpChg>
        <pc:grpChg chg="mod">
          <ac:chgData name="Gastbenutzer" userId="" providerId="Windows Live" clId="Web-{5E526AD5-9057-0489-A341-813E46FCF6D6}" dt="2025-04-23T18:31:26.341" v="318" actId="1076"/>
          <ac:grpSpMkLst>
            <pc:docMk/>
            <pc:sldMk cId="1338676740" sldId="314"/>
            <ac:grpSpMk id="46" creationId="{B2A93CFC-B3A5-BCC7-15C4-5CC8C9B17186}"/>
          </ac:grpSpMkLst>
        </pc:grpChg>
        <pc:grpChg chg="mod">
          <ac:chgData name="Gastbenutzer" userId="" providerId="Windows Live" clId="Web-{5E526AD5-9057-0489-A341-813E46FCF6D6}" dt="2025-04-23T18:30:14.323" v="306" actId="1076"/>
          <ac:grpSpMkLst>
            <pc:docMk/>
            <pc:sldMk cId="1338676740" sldId="314"/>
            <ac:grpSpMk id="47" creationId="{70B04A9E-73CE-0960-5CF3-2DB51F17CC15}"/>
          </ac:grpSpMkLst>
        </pc:grpChg>
        <pc:picChg chg="add del">
          <ac:chgData name="Gastbenutzer" userId="" providerId="Windows Live" clId="Web-{5E526AD5-9057-0489-A341-813E46FCF6D6}" dt="2025-04-23T18:25:31.080" v="254"/>
          <ac:picMkLst>
            <pc:docMk/>
            <pc:sldMk cId="1338676740" sldId="314"/>
            <ac:picMk id="5" creationId="{C8D2BD92-7135-AC82-B9C2-B32F06E7DC4C}"/>
          </ac:picMkLst>
        </pc:picChg>
      </pc:sldChg>
      <pc:sldChg chg="add replId">
        <pc:chgData name="Gastbenutzer" userId="" providerId="Windows Live" clId="Web-{5E526AD5-9057-0489-A341-813E46FCF6D6}" dt="2025-04-23T18:33:17.110" v="319"/>
        <pc:sldMkLst>
          <pc:docMk/>
          <pc:sldMk cId="236381820" sldId="317"/>
        </pc:sldMkLst>
      </pc:sldChg>
      <pc:sldChg chg="add del replId">
        <pc:chgData name="Gastbenutzer" userId="" providerId="Windows Live" clId="Web-{5E526AD5-9057-0489-A341-813E46FCF6D6}" dt="2025-04-23T18:34:25.257" v="321"/>
        <pc:sldMkLst>
          <pc:docMk/>
          <pc:sldMk cId="1078819336" sldId="318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7D1A5C42-4636-4A6A-9001-CA7CD97B08E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 rtl="0"/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CC57720-6EA2-4C0E-AB19-0A22BCDB839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 rtl="0"/>
            <a:fld id="{28839055-949B-4380-A9BF-C76F7222AE5D}" type="datetime1">
              <a:rPr lang="de-DE" smtClean="0"/>
              <a:t>24.04.20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34AC616-D2D2-4742-9683-2A537932A10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rtl="0"/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A7EE012-E187-4EEE-9C2F-2125BF40862F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 rtl="0"/>
            <a:fld id="{0481155F-8354-4019-9356-1A95703B072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9460597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 rtl="0"/>
            <a:endParaRPr lang="de-DE" noProof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CDA717B-B607-40B5-815A-5FB8992088E4}" type="datetime1">
              <a:rPr lang="de-DE" smtClean="0"/>
              <a:pPr/>
              <a:t>24.04.20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rtl="0"/>
            <a:endParaRPr lang="de-DE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 rtl="0"/>
            <a:r>
              <a:rPr lang="de-DE" noProof="0"/>
              <a:t>Textmasterformat durch Klicken bearbeiten</a:t>
            </a:r>
          </a:p>
          <a:p>
            <a:pPr lvl="1" rtl="0"/>
            <a:r>
              <a:rPr lang="de-DE" noProof="0"/>
              <a:t>Zweite Ebene</a:t>
            </a:r>
          </a:p>
          <a:p>
            <a:pPr lvl="2" rtl="0"/>
            <a:r>
              <a:rPr lang="de-DE" noProof="0"/>
              <a:t>Dritte Ebene</a:t>
            </a:r>
          </a:p>
          <a:p>
            <a:pPr lvl="3" rtl="0"/>
            <a:r>
              <a:rPr lang="de-DE" noProof="0"/>
              <a:t>Vierte Ebene</a:t>
            </a:r>
          </a:p>
          <a:p>
            <a:pPr lvl="4" rtl="0"/>
            <a:r>
              <a:rPr lang="de-DE" noProof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rtl="0"/>
            <a:endParaRPr lang="de-DE" noProof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 rtl="0"/>
            <a:fld id="{5071D96E-4CA2-485E-9EE5-CEB7143ACC3B}" type="slidenum">
              <a:rPr lang="de-DE" noProof="0" smtClean="0"/>
              <a:t>‹#›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351118507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linkedin.com/in/alexander-haller-86a08813b/?locale=de_DE" TargetMode="External"/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Relationship Id="rId6" Type="http://schemas.openxmlformats.org/officeDocument/2006/relationships/hyperlink" Target="https://www.linkedin.com/in/florian-faller/" TargetMode="External"/><Relationship Id="rId5" Type="http://schemas.openxmlformats.org/officeDocument/2006/relationships/hyperlink" Target="https://www.linkedin.com/in/cosima-f-faller-362a28274/" TargetMode="External"/><Relationship Id="rId4" Type="http://schemas.openxmlformats.org/officeDocument/2006/relationships/hyperlink" Target="https://www.linkedin.com/in/demyan-kurbatov-910aa41a7/" TargetMode="External"/></Relationships>
</file>

<file path=ppt/notesSlides/_rels/notes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linkedin.com/in/alexander-haller-86a08813b/?locale=de_DE" TargetMode="External"/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Relationship Id="rId6" Type="http://schemas.openxmlformats.org/officeDocument/2006/relationships/hyperlink" Target="https://www.linkedin.com/in/florian-faller/" TargetMode="External"/><Relationship Id="rId5" Type="http://schemas.openxmlformats.org/officeDocument/2006/relationships/hyperlink" Target="https://www.linkedin.com/in/cosima-f-faller-362a28274/" TargetMode="External"/><Relationship Id="rId4" Type="http://schemas.openxmlformats.org/officeDocument/2006/relationships/hyperlink" Target="https://www.linkedin.com/in/demyan-kurbatov-910aa41a7/" TargetMode="Externa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rtl="0"/>
            <a:fld id="{5071D96E-4CA2-485E-9EE5-CEB7143ACC3B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910391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>
                <a:ln w="19050">
                  <a:noFill/>
                </a:ln>
                <a:solidFill>
                  <a:schemeClr val="bg1"/>
                </a:solidFill>
              </a:rPr>
              <a:t>VC investing is (not) Gambling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>
              <a:ln w="19050">
                <a:noFill/>
              </a:ln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>
                <a:ln w="19050">
                  <a:noFill/>
                </a:ln>
                <a:solidFill>
                  <a:schemeClr val="bg1"/>
                </a:solidFill>
              </a:rPr>
              <a:t>Imagine betting in a horse race – you pick the horse which looked healthiest, strongest, fastest. But a different horse makes the race. You did not bet on this one though, because you did not know that it had a better rider and because you put too much weight in your decision on the breed instead of its former training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rtl="0"/>
            <a:fld id="{5071D96E-4CA2-485E-9EE5-CEB7143ACC3B}" type="slidenum">
              <a:rPr lang="de-DE" noProof="0" smtClean="0"/>
              <a:t>2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152439226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9F5AC07-603E-366A-C61F-E9E3BCC3BF0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D99056C0-3CBC-5681-F6BE-0935778379A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B5115695-FF15-6641-9058-6E353942D78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/>
              <a:t>This </a:t>
            </a:r>
            <a:r>
              <a:rPr lang="de-DE" err="1"/>
              <a:t>brings</a:t>
            </a:r>
            <a:r>
              <a:rPr lang="de-DE"/>
              <a:t> </a:t>
            </a:r>
            <a:r>
              <a:rPr lang="de-DE" err="1"/>
              <a:t>us</a:t>
            </a:r>
            <a:r>
              <a:rPr lang="de-DE"/>
              <a:t> to VC </a:t>
            </a:r>
            <a:r>
              <a:rPr lang="de-DE" err="1"/>
              <a:t>investing</a:t>
            </a:r>
            <a:r>
              <a:rPr lang="de-DE"/>
              <a:t>. </a:t>
            </a:r>
            <a:r>
              <a:rPr lang="de-DE" err="1"/>
              <a:t>We</a:t>
            </a:r>
            <a:r>
              <a:rPr lang="de-DE"/>
              <a:t> </a:t>
            </a:r>
            <a:r>
              <a:rPr lang="de-DE" err="1"/>
              <a:t>are</a:t>
            </a:r>
            <a:r>
              <a:rPr lang="de-DE"/>
              <a:t> </a:t>
            </a:r>
            <a:r>
              <a:rPr lang="de-DE" err="1"/>
              <a:t>betting</a:t>
            </a:r>
            <a:r>
              <a:rPr lang="de-DE"/>
              <a:t>, not on </a:t>
            </a:r>
            <a:r>
              <a:rPr lang="de-DE" err="1"/>
              <a:t>horses</a:t>
            </a:r>
            <a:r>
              <a:rPr lang="de-DE"/>
              <a:t>, on </a:t>
            </a:r>
            <a:r>
              <a:rPr lang="de-DE" err="1"/>
              <a:t>startups</a:t>
            </a:r>
            <a:r>
              <a:rPr lang="de-DE"/>
              <a:t>. VCs </a:t>
            </a:r>
            <a:r>
              <a:rPr lang="de-DE" err="1"/>
              <a:t>make</a:t>
            </a:r>
            <a:r>
              <a:rPr lang="de-DE"/>
              <a:t> </a:t>
            </a:r>
            <a:r>
              <a:rPr lang="de-DE" err="1"/>
              <a:t>good</a:t>
            </a:r>
            <a:r>
              <a:rPr lang="de-DE"/>
              <a:t>, </a:t>
            </a:r>
            <a:r>
              <a:rPr lang="de-DE" err="1"/>
              <a:t>sometimes</a:t>
            </a:r>
            <a:r>
              <a:rPr lang="de-DE"/>
              <a:t> </a:t>
            </a:r>
            <a:r>
              <a:rPr lang="de-DE" err="1"/>
              <a:t>bad</a:t>
            </a:r>
            <a:r>
              <a:rPr lang="de-DE"/>
              <a:t>, </a:t>
            </a:r>
            <a:r>
              <a:rPr lang="de-DE" err="1"/>
              <a:t>sometimes</a:t>
            </a:r>
            <a:r>
              <a:rPr lang="de-DE"/>
              <a:t> </a:t>
            </a:r>
            <a:r>
              <a:rPr lang="de-DE" err="1"/>
              <a:t>great</a:t>
            </a:r>
            <a:r>
              <a:rPr lang="de-DE"/>
              <a:t> </a:t>
            </a:r>
            <a:r>
              <a:rPr lang="de-DE" err="1"/>
              <a:t>deals</a:t>
            </a:r>
            <a:r>
              <a:rPr lang="de-DE"/>
              <a:t>, but </a:t>
            </a:r>
            <a:r>
              <a:rPr lang="de-DE" err="1"/>
              <a:t>how</a:t>
            </a:r>
            <a:r>
              <a:rPr lang="de-DE"/>
              <a:t> to pick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best</a:t>
            </a:r>
            <a:r>
              <a:rPr lang="de-DE"/>
              <a:t> </a:t>
            </a:r>
            <a:r>
              <a:rPr lang="de-DE" err="1"/>
              <a:t>ones</a:t>
            </a:r>
            <a:r>
              <a:rPr lang="de-DE"/>
              <a:t>? </a:t>
            </a:r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dont</a:t>
            </a:r>
            <a:r>
              <a:rPr lang="de-DE"/>
              <a:t> </a:t>
            </a:r>
            <a:r>
              <a:rPr lang="de-DE" err="1"/>
              <a:t>have</a:t>
            </a:r>
            <a:r>
              <a:rPr lang="de-DE"/>
              <a:t> all relevant </a:t>
            </a:r>
            <a:r>
              <a:rPr lang="de-DE" err="1"/>
              <a:t>data</a:t>
            </a:r>
            <a:r>
              <a:rPr lang="de-DE"/>
              <a:t>. Even </a:t>
            </a:r>
            <a:r>
              <a:rPr lang="de-DE" err="1"/>
              <a:t>if</a:t>
            </a:r>
            <a:r>
              <a:rPr lang="de-DE"/>
              <a:t> </a:t>
            </a:r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have</a:t>
            </a:r>
            <a:r>
              <a:rPr lang="de-DE"/>
              <a:t> </a:t>
            </a:r>
            <a:r>
              <a:rPr lang="de-DE" err="1"/>
              <a:t>data</a:t>
            </a:r>
            <a:r>
              <a:rPr lang="de-DE"/>
              <a:t>, </a:t>
            </a:r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dont</a:t>
            </a:r>
            <a:r>
              <a:rPr lang="de-DE"/>
              <a:t> </a:t>
            </a:r>
            <a:r>
              <a:rPr lang="de-DE" err="1"/>
              <a:t>know</a:t>
            </a:r>
            <a:r>
              <a:rPr lang="de-DE"/>
              <a:t> </a:t>
            </a:r>
            <a:r>
              <a:rPr lang="de-DE" err="1"/>
              <a:t>if</a:t>
            </a:r>
            <a:r>
              <a:rPr lang="de-DE"/>
              <a:t> a CLTV/CAC </a:t>
            </a:r>
            <a:r>
              <a:rPr lang="de-DE" err="1"/>
              <a:t>ratio</a:t>
            </a:r>
            <a:r>
              <a:rPr lang="de-DE"/>
              <a:t> </a:t>
            </a:r>
            <a:r>
              <a:rPr lang="de-DE" err="1"/>
              <a:t>of</a:t>
            </a:r>
            <a:r>
              <a:rPr lang="de-DE"/>
              <a:t> 2 </a:t>
            </a:r>
            <a:r>
              <a:rPr lang="de-DE" err="1"/>
              <a:t>is</a:t>
            </a:r>
            <a:r>
              <a:rPr lang="de-DE"/>
              <a:t> </a:t>
            </a:r>
            <a:r>
              <a:rPr lang="de-DE" err="1"/>
              <a:t>good</a:t>
            </a:r>
            <a:r>
              <a:rPr lang="de-DE"/>
              <a:t> </a:t>
            </a:r>
            <a:r>
              <a:rPr lang="de-DE" err="1"/>
              <a:t>or</a:t>
            </a:r>
            <a:r>
              <a:rPr lang="de-DE"/>
              <a:t> </a:t>
            </a:r>
            <a:r>
              <a:rPr lang="de-DE" err="1"/>
              <a:t>bad</a:t>
            </a:r>
            <a:r>
              <a:rPr lang="de-DE"/>
              <a:t>. And </a:t>
            </a:r>
            <a:r>
              <a:rPr lang="de-DE" err="1"/>
              <a:t>even</a:t>
            </a:r>
            <a:r>
              <a:rPr lang="de-DE"/>
              <a:t> </a:t>
            </a:r>
            <a:r>
              <a:rPr lang="de-DE" err="1"/>
              <a:t>if</a:t>
            </a:r>
            <a:r>
              <a:rPr lang="de-DE"/>
              <a:t> </a:t>
            </a:r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get</a:t>
            </a:r>
            <a:r>
              <a:rPr lang="de-DE"/>
              <a:t> a </a:t>
            </a:r>
            <a:r>
              <a:rPr lang="de-DE" err="1"/>
              <a:t>feeling</a:t>
            </a:r>
            <a:r>
              <a:rPr lang="de-DE"/>
              <a:t> </a:t>
            </a:r>
            <a:r>
              <a:rPr lang="de-DE" err="1"/>
              <a:t>for</a:t>
            </a:r>
            <a:r>
              <a:rPr lang="de-DE"/>
              <a:t> </a:t>
            </a:r>
            <a:r>
              <a:rPr lang="de-DE" err="1"/>
              <a:t>this</a:t>
            </a:r>
            <a:r>
              <a:rPr lang="de-DE"/>
              <a:t>, </a:t>
            </a:r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might</a:t>
            </a:r>
            <a:r>
              <a:rPr lang="de-DE"/>
              <a:t> still </a:t>
            </a:r>
            <a:r>
              <a:rPr lang="de-DE" err="1"/>
              <a:t>put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wrong</a:t>
            </a:r>
            <a:r>
              <a:rPr lang="de-DE"/>
              <a:t> </a:t>
            </a:r>
            <a:r>
              <a:rPr lang="de-DE" err="1"/>
              <a:t>weights</a:t>
            </a:r>
            <a:r>
              <a:rPr lang="de-DE"/>
              <a:t> on </a:t>
            </a:r>
            <a:r>
              <a:rPr lang="de-DE" err="1"/>
              <a:t>your</a:t>
            </a:r>
            <a:r>
              <a:rPr lang="de-DE"/>
              <a:t> </a:t>
            </a:r>
            <a:r>
              <a:rPr lang="de-DE" err="1"/>
              <a:t>decision</a:t>
            </a:r>
            <a:r>
              <a:rPr lang="de-DE"/>
              <a:t> </a:t>
            </a:r>
            <a:r>
              <a:rPr lang="de-DE" err="1"/>
              <a:t>criteria</a:t>
            </a:r>
            <a:r>
              <a:rPr lang="de-DE"/>
              <a:t>. 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A0A9B83-CDE5-FB9F-44A6-303EEAA84F1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rtl="0"/>
            <a:fld id="{5071D96E-4CA2-485E-9EE5-CEB7143ACC3B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5925043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DB050D7-DD59-70AA-BBB9-490E7A831A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183C0B26-B80A-D230-917E-3D48F0322C0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96491723-836D-D8C6-B845-FBEA2A2B37F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F54F602-F35B-42EC-78D0-5F36FF52FAD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rtl="0"/>
            <a:fld id="{5071D96E-4CA2-485E-9EE5-CEB7143ACC3B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8916534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9B35690-0FB9-9D56-B9D1-D62B4C7BDE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755C96AC-73D1-CAE0-2043-6566CA11A75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FE85C0A1-FBDF-1CD6-EAA1-B9695CF972F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1A1FCF1-6989-D244-754A-FA192A148D7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rtl="0"/>
            <a:fld id="{5071D96E-4CA2-485E-9EE5-CEB7143ACC3B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6179797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D03CF43-84D8-8DE5-304E-DCF9A1342A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7D13B03-2A76-4E99-69B0-2BB3529691E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FA94DFF-AF15-767B-1DB8-4BA455B2F81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sz="3200" b="1">
              <a:solidFill>
                <a:schemeClr val="bg1"/>
              </a:solidFill>
            </a:endParaRPr>
          </a:p>
          <a:p>
            <a:r>
              <a:rPr lang="en-US" sz="1200">
                <a:solidFill>
                  <a:schemeClr val="bg1"/>
                </a:solidFill>
                <a:latin typeface="Helvetica Neue"/>
              </a:rPr>
              <a:t>Venture Capital Fonds: ~10.000 —&gt; Annual willingness to pay: $2.000–$10.000</a:t>
            </a:r>
            <a:endParaRPr lang="en-US"/>
          </a:p>
          <a:p>
            <a:r>
              <a:rPr lang="en-US" sz="1200">
                <a:solidFill>
                  <a:schemeClr val="bg1"/>
                </a:solidFill>
                <a:latin typeface="Helvetica Neue"/>
              </a:rPr>
              <a:t>Business Angels: ~100.000 —&gt; $300–$1.000</a:t>
            </a:r>
            <a:endParaRPr lang="en-US">
              <a:solidFill>
                <a:schemeClr val="bg1"/>
              </a:solidFill>
            </a:endParaRPr>
          </a:p>
          <a:p>
            <a:r>
              <a:rPr lang="en-US" sz="1200">
                <a:solidFill>
                  <a:schemeClr val="bg1"/>
                </a:solidFill>
                <a:latin typeface="Helvetica Neue"/>
              </a:rPr>
              <a:t>Accelerator/</a:t>
            </a:r>
            <a:r>
              <a:rPr lang="en-US" sz="1200" err="1">
                <a:solidFill>
                  <a:schemeClr val="bg1"/>
                </a:solidFill>
                <a:latin typeface="Helvetica Neue"/>
              </a:rPr>
              <a:t>Inkubator</a:t>
            </a:r>
            <a:r>
              <a:rPr lang="en-US" sz="1200">
                <a:solidFill>
                  <a:schemeClr val="bg1"/>
                </a:solidFill>
                <a:latin typeface="Helvetica Neue"/>
              </a:rPr>
              <a:t>: ~3.000 —&gt; $2.000–$5.000</a:t>
            </a:r>
            <a:endParaRPr lang="en-US">
              <a:solidFill>
                <a:schemeClr val="bg1"/>
              </a:solidFill>
            </a:endParaRPr>
          </a:p>
          <a:p>
            <a:r>
              <a:rPr lang="en-US" sz="1200">
                <a:solidFill>
                  <a:schemeClr val="bg1"/>
                </a:solidFill>
                <a:latin typeface="Helvetica Neue"/>
              </a:rPr>
              <a:t>Corporate VS: ~1.500 —&gt; $10.000–$50.000</a:t>
            </a:r>
            <a:endParaRPr lang="en-US">
              <a:solidFill>
                <a:schemeClr val="bg1"/>
              </a:solidFill>
            </a:endParaRPr>
          </a:p>
          <a:p>
            <a:r>
              <a:rPr lang="en-US" sz="1200">
                <a:solidFill>
                  <a:schemeClr val="bg1"/>
                </a:solidFill>
                <a:latin typeface="Helvetica Neue"/>
              </a:rPr>
              <a:t>Public: </a:t>
            </a:r>
            <a:r>
              <a:rPr lang="en-US" sz="1200">
                <a:solidFill>
                  <a:schemeClr val="bg1"/>
                </a:solidFill>
                <a:ea typeface="+mn-lt"/>
                <a:cs typeface="+mn-lt"/>
              </a:rPr>
              <a:t>~500–1.000 --&gt; $5.000–$25.000</a:t>
            </a:r>
            <a:endParaRPr lang="en-US" sz="1200">
              <a:solidFill>
                <a:schemeClr val="bg1"/>
              </a:solidFill>
              <a:latin typeface="Helvetica Neue"/>
            </a:endParaRPr>
          </a:p>
          <a:p>
            <a:endParaRPr lang="en-US" sz="3200">
              <a:solidFill>
                <a:schemeClr val="bg1"/>
              </a:solidFill>
            </a:endParaRPr>
          </a:p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2401C5F-E3C0-7111-3B2D-60A0D145EBD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rtl="0"/>
            <a:fld id="{5071D96E-4CA2-485E-9EE5-CEB7143ACC3B}" type="slidenum">
              <a:rPr lang="de-DE" noProof="0" smtClean="0"/>
              <a:t>9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198409705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2DD48A8-E9CC-D154-5D62-C2ED1B28409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8CE38EC2-BACC-EDCE-A2C3-237C697C7B1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1AC8EA4D-A4C3-A4EE-6493-27EB98E5FD5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>
                <a:hlinkClick r:id="rId3"/>
              </a:rPr>
              <a:t>(4) Alexander Haller | LinkedIn</a:t>
            </a:r>
            <a:endParaRPr lang="de-DE"/>
          </a:p>
          <a:p>
            <a:r>
              <a:rPr lang="de-DE">
                <a:hlinkClick r:id="rId4"/>
              </a:rPr>
              <a:t>(4) </a:t>
            </a:r>
            <a:r>
              <a:rPr lang="de-DE" err="1">
                <a:hlinkClick r:id="rId4"/>
              </a:rPr>
              <a:t>Demyan</a:t>
            </a:r>
            <a:r>
              <a:rPr lang="de-DE">
                <a:hlinkClick r:id="rId4"/>
              </a:rPr>
              <a:t> </a:t>
            </a:r>
            <a:r>
              <a:rPr lang="de-DE" err="1">
                <a:hlinkClick r:id="rId4"/>
              </a:rPr>
              <a:t>Kurbatov</a:t>
            </a:r>
            <a:r>
              <a:rPr lang="de-DE">
                <a:hlinkClick r:id="rId4"/>
              </a:rPr>
              <a:t> | LinkedIn</a:t>
            </a:r>
            <a:endParaRPr lang="de-DE"/>
          </a:p>
          <a:p>
            <a:r>
              <a:rPr lang="it-IT">
                <a:hlinkClick r:id="rId5"/>
              </a:rPr>
              <a:t>(4) Cosima F. Faller | LinkedIn</a:t>
            </a:r>
            <a:endParaRPr lang="de-DE"/>
          </a:p>
          <a:p>
            <a:r>
              <a:rPr lang="de-DE">
                <a:hlinkClick r:id="rId6"/>
              </a:rPr>
              <a:t>(4) Florian Faller | LinkedIn</a:t>
            </a:r>
            <a:endParaRPr lang="de-DE"/>
          </a:p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0BD1BF7-E636-629E-6954-7480E607820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rtl="0"/>
            <a:fld id="{5071D96E-4CA2-485E-9EE5-CEB7143ACC3B}" type="slidenum">
              <a:rPr lang="de-DE" noProof="0" smtClean="0"/>
              <a:t>13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119456178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E6F824-FE1C-8209-E668-6088598A4B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009DCC5C-CCAE-0B99-372C-D2EB0939DE9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541DEA8C-9BB9-86CF-3CD9-0890FC91895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>
                <a:hlinkClick r:id="rId3"/>
              </a:rPr>
              <a:t>(4) Alexander Haller | LinkedIn</a:t>
            </a:r>
            <a:endParaRPr lang="de-DE"/>
          </a:p>
          <a:p>
            <a:r>
              <a:rPr lang="de-DE">
                <a:hlinkClick r:id="rId4"/>
              </a:rPr>
              <a:t>(4) </a:t>
            </a:r>
            <a:r>
              <a:rPr lang="de-DE" err="1">
                <a:hlinkClick r:id="rId4"/>
              </a:rPr>
              <a:t>Demyan</a:t>
            </a:r>
            <a:r>
              <a:rPr lang="de-DE">
                <a:hlinkClick r:id="rId4"/>
              </a:rPr>
              <a:t> </a:t>
            </a:r>
            <a:r>
              <a:rPr lang="de-DE" err="1">
                <a:hlinkClick r:id="rId4"/>
              </a:rPr>
              <a:t>Kurbatov</a:t>
            </a:r>
            <a:r>
              <a:rPr lang="de-DE">
                <a:hlinkClick r:id="rId4"/>
              </a:rPr>
              <a:t> | LinkedIn</a:t>
            </a:r>
            <a:endParaRPr lang="de-DE"/>
          </a:p>
          <a:p>
            <a:r>
              <a:rPr lang="it-IT">
                <a:hlinkClick r:id="rId5"/>
              </a:rPr>
              <a:t>(4) Cosima F. Faller | LinkedIn</a:t>
            </a:r>
            <a:endParaRPr lang="de-DE"/>
          </a:p>
          <a:p>
            <a:r>
              <a:rPr lang="de-DE">
                <a:hlinkClick r:id="rId6"/>
              </a:rPr>
              <a:t>(4) Florian Faller | LinkedIn</a:t>
            </a:r>
            <a:endParaRPr lang="de-DE"/>
          </a:p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4830A67-2393-E830-A682-73C6F3B8591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rtl="0"/>
            <a:fld id="{5071D96E-4CA2-485E-9EE5-CEB7143ACC3B}" type="slidenum">
              <a:rPr lang="de-DE" noProof="0" smtClean="0"/>
              <a:t>19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21158389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11.pn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14.png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 2">
            <a:extLst>
              <a:ext uri="{FF2B5EF4-FFF2-40B4-BE49-F238E27FC236}">
                <a16:creationId xmlns:a16="http://schemas.microsoft.com/office/drawing/2014/main" id="{8E7FFE5B-C2CA-473D-8FCA-B26579CCBAA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92279"/>
            <a:ext cx="12192000" cy="6950279"/>
          </a:xfrm>
          <a:prstGeom prst="rect">
            <a:avLst/>
          </a:prstGeom>
        </p:spPr>
      </p:pic>
      <p:sp>
        <p:nvSpPr>
          <p:cNvPr id="8" name="Bildplatzhalter 7">
            <a:extLst>
              <a:ext uri="{FF2B5EF4-FFF2-40B4-BE49-F238E27FC236}">
                <a16:creationId xmlns:a16="http://schemas.microsoft.com/office/drawing/2014/main" id="{5FF4BA3E-4135-4F80-B1C8-C84CDF7C54A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 flipH="1">
            <a:off x="752100" y="739303"/>
            <a:ext cx="6825035" cy="5379395"/>
          </a:xfrm>
        </p:spPr>
        <p:txBody>
          <a:bodyPr rtlCol="0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rtl="0"/>
            <a:r>
              <a:rPr lang="de-DE" noProof="0"/>
              <a:t>Zum Hinzufügen eines Fotos klick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5CAABB7-A562-4A3F-9DDF-2CE3D13726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22977" y="1663435"/>
            <a:ext cx="5869021" cy="2003898"/>
          </a:xfrm>
          <a:solidFill>
            <a:schemeClr val="accent2">
              <a:alpha val="80000"/>
            </a:schemeClr>
          </a:solidFill>
        </p:spPr>
        <p:txBody>
          <a:bodyPr lIns="557784" tIns="530352" rtlCol="0" anchor="t">
            <a:noAutofit/>
          </a:bodyPr>
          <a:lstStyle>
            <a:lvl1pPr algn="l">
              <a:lnSpc>
                <a:spcPct val="80000"/>
              </a:lnSpc>
              <a:defRPr sz="5400" cap="all" spc="400" baseline="0">
                <a:ln w="19050">
                  <a:solidFill>
                    <a:schemeClr val="accent5"/>
                  </a:solidFill>
                </a:ln>
              </a:defRPr>
            </a:lvl1pPr>
          </a:lstStyle>
          <a:p>
            <a:pPr rtl="0"/>
            <a:r>
              <a:rPr lang="de-DE" noProof="0"/>
              <a:t>Titel durch Klicken hinzufügen</a:t>
            </a:r>
          </a:p>
        </p:txBody>
      </p:sp>
      <p:sp>
        <p:nvSpPr>
          <p:cNvPr id="14" name="Textplatzhalter 17">
            <a:extLst>
              <a:ext uri="{FF2B5EF4-FFF2-40B4-BE49-F238E27FC236}">
                <a16:creationId xmlns:a16="http://schemas.microsoft.com/office/drawing/2014/main" id="{D15807FE-36E0-49EF-93A4-5B9AD83871B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822159" y="2878246"/>
            <a:ext cx="4925188" cy="339247"/>
          </a:xfrm>
        </p:spPr>
        <p:txBody>
          <a:bodyPr rtlCol="0">
            <a:noAutofit/>
          </a:bodyPr>
          <a:lstStyle>
            <a:lvl1pPr marL="0" indent="0" algn="l">
              <a:buNone/>
              <a:defRPr sz="2400" spc="100" baseline="0">
                <a:solidFill>
                  <a:schemeClr val="accent5"/>
                </a:solidFill>
              </a:defRPr>
            </a:lvl1pPr>
          </a:lstStyle>
          <a:p>
            <a:pPr lvl="0" rtl="0"/>
            <a:r>
              <a:rPr lang="de-DE" noProof="0"/>
              <a:t>Klicken, um einen Namen hinzuzufügen</a:t>
            </a:r>
          </a:p>
        </p:txBody>
      </p:sp>
    </p:spTree>
    <p:extLst>
      <p:ext uri="{BB962C8B-B14F-4D97-AF65-F5344CB8AC3E}">
        <p14:creationId xmlns:p14="http://schemas.microsoft.com/office/powerpoint/2010/main" val="35235163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schäftsmod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 2">
            <a:extLst>
              <a:ext uri="{FF2B5EF4-FFF2-40B4-BE49-F238E27FC236}">
                <a16:creationId xmlns:a16="http://schemas.microsoft.com/office/drawing/2014/main" id="{12684757-E21D-414B-B627-1E0D15F89CA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0" y="0"/>
            <a:ext cx="12188620" cy="6858000"/>
          </a:xfrm>
          <a:prstGeom prst="rect">
            <a:avLst/>
          </a:prstGeom>
        </p:spPr>
      </p:pic>
      <p:sp>
        <p:nvSpPr>
          <p:cNvPr id="11" name="Bildplatzhalter 7">
            <a:extLst>
              <a:ext uri="{FF2B5EF4-FFF2-40B4-BE49-F238E27FC236}">
                <a16:creationId xmlns:a16="http://schemas.microsoft.com/office/drawing/2014/main" id="{927250C7-CB58-468C-B8BB-17DB85D4F24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011738" y="0"/>
            <a:ext cx="7196930" cy="6867376"/>
          </a:xfrm>
        </p:spPr>
        <p:txBody>
          <a:bodyPr rtlCol="0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rtl="0"/>
            <a:r>
              <a:rPr lang="de-DE" noProof="0"/>
              <a:t>Zum Hinzufügen eines Fotos klick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76BB3F6-84AB-40BA-9D7D-7C1E13C0E1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-1" y="1036629"/>
            <a:ext cx="6007099" cy="4784742"/>
          </a:xfrm>
          <a:solidFill>
            <a:schemeClr val="accent6">
              <a:alpha val="80000"/>
            </a:schemeClr>
          </a:solidFill>
        </p:spPr>
        <p:txBody>
          <a:bodyPr lIns="822960" tIns="640080" rtlCol="0" anchor="t">
            <a:normAutofit/>
          </a:bodyPr>
          <a:lstStyle>
            <a:lvl1pPr algn="l">
              <a:lnSpc>
                <a:spcPct val="100000"/>
              </a:lnSpc>
              <a:defRPr sz="2800"/>
            </a:lvl1pPr>
          </a:lstStyle>
          <a:p>
            <a:pPr rtl="0"/>
            <a:r>
              <a:rPr lang="de-DE" noProof="0"/>
              <a:t>Titel durch Klicken hinzufügen</a:t>
            </a:r>
          </a:p>
        </p:txBody>
      </p:sp>
      <p:sp>
        <p:nvSpPr>
          <p:cNvPr id="16" name="Textplatzhalter 14">
            <a:extLst>
              <a:ext uri="{FF2B5EF4-FFF2-40B4-BE49-F238E27FC236}">
                <a16:creationId xmlns:a16="http://schemas.microsoft.com/office/drawing/2014/main" id="{6A7AB969-4D8E-41B0-A403-6D1D41CD516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9016" y="2368506"/>
            <a:ext cx="4771030" cy="365125"/>
          </a:xfrm>
          <a:prstGeom prst="rect">
            <a:avLst/>
          </a:prstGeom>
        </p:spPr>
        <p:txBody>
          <a:bodyPr rtlCol="0"/>
          <a:lstStyle>
            <a:lvl1pPr marL="0" indent="0">
              <a:buNone/>
              <a:defRPr sz="1600" b="1" cap="all" spc="200" baseline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rtl="0"/>
            <a:r>
              <a:rPr lang="de-DE" noProof="0"/>
              <a:t>Titel durch Klicken hinzufügen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08F82904-47D8-4EB9-A697-8ED11274C40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29017" y="2605040"/>
            <a:ext cx="4771030" cy="801073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lnSpc>
                <a:spcPct val="114000"/>
              </a:lnSpc>
              <a:spcBef>
                <a:spcPts val="0"/>
              </a:spcBef>
              <a:buNone/>
              <a:defRPr sz="1400" cap="none" spc="100" baseline="0">
                <a:solidFill>
                  <a:schemeClr val="accent2"/>
                </a:solidFill>
                <a:latin typeface="+mn-lt"/>
              </a:defRPr>
            </a:lvl1pPr>
          </a:lstStyle>
          <a:p>
            <a:pPr lvl="0" rtl="0"/>
            <a:r>
              <a:rPr lang="de-DE" noProof="0"/>
              <a:t>Klicken Sie, um Text hinzuzufügen.</a:t>
            </a:r>
          </a:p>
        </p:txBody>
      </p:sp>
      <p:sp>
        <p:nvSpPr>
          <p:cNvPr id="22" name="Textplatzhalter 14">
            <a:extLst>
              <a:ext uri="{FF2B5EF4-FFF2-40B4-BE49-F238E27FC236}">
                <a16:creationId xmlns:a16="http://schemas.microsoft.com/office/drawing/2014/main" id="{44501739-C457-4C98-A458-5B3639CFB82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29016" y="3544629"/>
            <a:ext cx="4771030" cy="365125"/>
          </a:xfrm>
          <a:prstGeom prst="rect">
            <a:avLst/>
          </a:prstGeom>
        </p:spPr>
        <p:txBody>
          <a:bodyPr rtlCol="0"/>
          <a:lstStyle>
            <a:lvl1pPr marL="0" indent="0">
              <a:buNone/>
              <a:defRPr sz="1600" b="1" cap="all" spc="200" baseline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rtl="0"/>
            <a:r>
              <a:rPr lang="de-DE" noProof="0"/>
              <a:t>Titel durch Klicken hinzufügen</a:t>
            </a:r>
          </a:p>
        </p:txBody>
      </p:sp>
      <p:sp>
        <p:nvSpPr>
          <p:cNvPr id="21" name="Textplatzhalter 14">
            <a:extLst>
              <a:ext uri="{FF2B5EF4-FFF2-40B4-BE49-F238E27FC236}">
                <a16:creationId xmlns:a16="http://schemas.microsoft.com/office/drawing/2014/main" id="{503766A8-C36E-4337-9DB4-358A28B7431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29017" y="3781163"/>
            <a:ext cx="4771030" cy="801073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lnSpc>
                <a:spcPct val="114000"/>
              </a:lnSpc>
              <a:spcBef>
                <a:spcPts val="0"/>
              </a:spcBef>
              <a:buNone/>
              <a:defRPr sz="1400" cap="none" spc="100" baseline="0">
                <a:solidFill>
                  <a:schemeClr val="accent2"/>
                </a:solidFill>
                <a:latin typeface="+mn-lt"/>
              </a:defRPr>
            </a:lvl1pPr>
          </a:lstStyle>
          <a:p>
            <a:pPr lvl="0" rtl="0"/>
            <a:r>
              <a:rPr lang="de-DE" noProof="0"/>
              <a:t>Klicken Sie, um Text hinzuzufügen.</a:t>
            </a:r>
          </a:p>
        </p:txBody>
      </p:sp>
      <p:sp>
        <p:nvSpPr>
          <p:cNvPr id="24" name="Textplatzhalter 14">
            <a:extLst>
              <a:ext uri="{FF2B5EF4-FFF2-40B4-BE49-F238E27FC236}">
                <a16:creationId xmlns:a16="http://schemas.microsoft.com/office/drawing/2014/main" id="{5F947925-2465-45AC-9A1E-7153477BBEE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29016" y="4739239"/>
            <a:ext cx="4771030" cy="365125"/>
          </a:xfrm>
          <a:prstGeom prst="rect">
            <a:avLst/>
          </a:prstGeom>
        </p:spPr>
        <p:txBody>
          <a:bodyPr rtlCol="0"/>
          <a:lstStyle>
            <a:lvl1pPr marL="0" indent="0">
              <a:buNone/>
              <a:defRPr sz="1600" b="1" cap="all" spc="200" baseline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rtl="0"/>
            <a:r>
              <a:rPr lang="de-DE" noProof="0"/>
              <a:t>Titel durch Klicken hinzufügen</a:t>
            </a:r>
          </a:p>
        </p:txBody>
      </p:sp>
      <p:sp>
        <p:nvSpPr>
          <p:cNvPr id="23" name="Textplatzhalter 14">
            <a:extLst>
              <a:ext uri="{FF2B5EF4-FFF2-40B4-BE49-F238E27FC236}">
                <a16:creationId xmlns:a16="http://schemas.microsoft.com/office/drawing/2014/main" id="{6FC86B0E-A85D-444A-BC2A-B7A5FF1D48D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29017" y="4975773"/>
            <a:ext cx="4771030" cy="546815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lnSpc>
                <a:spcPct val="114000"/>
              </a:lnSpc>
              <a:spcBef>
                <a:spcPts val="0"/>
              </a:spcBef>
              <a:buNone/>
              <a:defRPr sz="1400" cap="none" spc="100" baseline="0">
                <a:solidFill>
                  <a:schemeClr val="accent2"/>
                </a:solidFill>
                <a:latin typeface="+mn-lt"/>
              </a:defRPr>
            </a:lvl1pPr>
          </a:lstStyle>
          <a:p>
            <a:pPr lvl="0" rtl="0"/>
            <a:r>
              <a:rPr lang="de-DE" noProof="0"/>
              <a:t>Klicken Sie, um Text hinzuzufügen.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BBA930A0-A89C-48EB-A039-375BDA735B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r>
              <a:rPr lang="en-US" noProof="0"/>
              <a:t>Q-Hack 25</a:t>
            </a:r>
            <a:endParaRPr lang="de-DE" noProof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A02A2494-B27D-418F-9D5E-8DE4FFB491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r>
              <a:rPr lang="de-DE" noProof="0"/>
              <a:t>disQover Pitch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04B0DC46-AFFB-4CCA-B5AE-7028C4E266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A402E4C0-AD5E-4E8C-9F21-7CCE474BDCEB}" type="slidenum">
              <a:rPr lang="de-DE" noProof="0" smtClean="0"/>
              <a:t>‹#›</a:t>
            </a:fld>
            <a:endParaRPr lang="de-DE" noProof="0"/>
          </a:p>
        </p:txBody>
      </p:sp>
      <p:sp>
        <p:nvSpPr>
          <p:cNvPr id="14" name="Titel 1">
            <a:extLst>
              <a:ext uri="{FF2B5EF4-FFF2-40B4-BE49-F238E27FC236}">
                <a16:creationId xmlns:a16="http://schemas.microsoft.com/office/drawing/2014/main" id="{4FA2B6EC-7682-494A-A02D-E22FEB7A4FD2}"/>
              </a:ext>
            </a:extLst>
          </p:cNvPr>
          <p:cNvSpPr txBox="1">
            <a:spLocks/>
          </p:cNvSpPr>
          <p:nvPr userDrawn="1"/>
        </p:nvSpPr>
        <p:spPr>
          <a:xfrm>
            <a:off x="0" y="1036629"/>
            <a:ext cx="6007099" cy="4784742"/>
          </a:xfrm>
          <a:prstGeom prst="rect">
            <a:avLst/>
          </a:prstGeom>
          <a:solidFill>
            <a:schemeClr val="accent6">
              <a:alpha val="80000"/>
            </a:schemeClr>
          </a:solidFill>
        </p:spPr>
        <p:txBody>
          <a:bodyPr vert="horz" lIns="822960" tIns="64008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 cap="all" spc="400" baseline="0">
                <a:ln w="19050">
                  <a:solidFill>
                    <a:schemeClr val="accent2"/>
                  </a:solidFill>
                </a:ln>
                <a:noFill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noProof="0"/>
              <a:t>Titel durch Klicken hinzufügen</a:t>
            </a:r>
          </a:p>
        </p:txBody>
      </p:sp>
    </p:spTree>
    <p:extLst>
      <p:ext uri="{BB962C8B-B14F-4D97-AF65-F5344CB8AC3E}">
        <p14:creationId xmlns:p14="http://schemas.microsoft.com/office/powerpoint/2010/main" val="233196738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rktübersic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 2">
            <a:extLst>
              <a:ext uri="{FF2B5EF4-FFF2-40B4-BE49-F238E27FC236}">
                <a16:creationId xmlns:a16="http://schemas.microsoft.com/office/drawing/2014/main" id="{1927D588-C832-4149-9B9F-D817459D8B7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0" y="0"/>
            <a:ext cx="12188620" cy="6858000"/>
          </a:xfrm>
          <a:prstGeom prst="rect">
            <a:avLst/>
          </a:prstGeom>
        </p:spPr>
      </p:pic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410CE2C-509A-4C33-AB34-6F278F1171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r>
              <a:rPr lang="en-US" noProof="0"/>
              <a:t>Q-Hack 25</a:t>
            </a:r>
            <a:endParaRPr lang="de-DE" noProof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78F06B8C-060C-4139-B354-239A56BB34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r>
              <a:rPr lang="de-DE" noProof="0"/>
              <a:t>disQover Pitch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957BE7C0-2680-40FD-88E4-27D6E7775D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A402E4C0-AD5E-4E8C-9F21-7CCE474BDCEB}" type="slidenum">
              <a:rPr lang="de-DE" noProof="0" smtClean="0"/>
              <a:t>‹#›</a:t>
            </a:fld>
            <a:endParaRPr lang="de-DE" noProof="0"/>
          </a:p>
        </p:txBody>
      </p:sp>
      <p:sp>
        <p:nvSpPr>
          <p:cNvPr id="10" name="Textplatzhalter 14">
            <a:extLst>
              <a:ext uri="{FF2B5EF4-FFF2-40B4-BE49-F238E27FC236}">
                <a16:creationId xmlns:a16="http://schemas.microsoft.com/office/drawing/2014/main" id="{01941F94-25C7-46EC-89FE-B12B54F77CF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16075" y="4076963"/>
            <a:ext cx="3035881" cy="1485635"/>
          </a:xfrm>
          <a:prstGeom prst="rect">
            <a:avLst/>
          </a:prstGeom>
        </p:spPr>
        <p:txBody>
          <a:bodyPr rtlCol="0" anchor="t"/>
          <a:lstStyle>
            <a:lvl1pPr marL="0" indent="0" algn="r">
              <a:lnSpc>
                <a:spcPct val="150000"/>
              </a:lnSpc>
              <a:spcBef>
                <a:spcPts val="0"/>
              </a:spcBef>
              <a:buClr>
                <a:schemeClr val="accent6"/>
              </a:buClr>
              <a:buFont typeface="Courier New" panose="02070309020205020404" pitchFamily="49" charset="0"/>
              <a:buNone/>
              <a:defRPr sz="1400" cap="none" spc="10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 rtl="0"/>
            <a:r>
              <a:rPr lang="de-DE" noProof="0"/>
              <a:t>Hier Text hinzufüg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1DE2747E-A71B-4917-8960-56D4F927D8C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01068" y="2806964"/>
            <a:ext cx="2693128" cy="991689"/>
          </a:xfrm>
          <a:prstGeom prst="rect">
            <a:avLst/>
          </a:prstGeom>
        </p:spPr>
        <p:txBody>
          <a:bodyPr rtlCol="0" anchor="b"/>
          <a:lstStyle>
            <a:lvl1pPr marL="0" indent="0" algn="r">
              <a:buNone/>
              <a:defRPr sz="4000" b="1" kern="0" cap="all" spc="400" baseline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rtl="0"/>
            <a:r>
              <a:rPr lang="de-DE" noProof="0"/>
              <a:t>Titel hinzufügen</a:t>
            </a:r>
          </a:p>
        </p:txBody>
      </p:sp>
      <p:sp>
        <p:nvSpPr>
          <p:cNvPr id="12" name="Textplatzhalter 14">
            <a:extLst>
              <a:ext uri="{FF2B5EF4-FFF2-40B4-BE49-F238E27FC236}">
                <a16:creationId xmlns:a16="http://schemas.microsoft.com/office/drawing/2014/main" id="{B3830FC7-44D5-48CD-AA84-4E262F2EB8C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689632" y="4076963"/>
            <a:ext cx="3035880" cy="1485635"/>
          </a:xfrm>
          <a:prstGeom prst="rect">
            <a:avLst/>
          </a:prstGeom>
        </p:spPr>
        <p:txBody>
          <a:bodyPr rtlCol="0" anchor="t"/>
          <a:lstStyle>
            <a:lvl1pPr marL="0" indent="0" algn="r">
              <a:lnSpc>
                <a:spcPct val="150000"/>
              </a:lnSpc>
              <a:spcBef>
                <a:spcPts val="0"/>
              </a:spcBef>
              <a:buClr>
                <a:schemeClr val="accent6"/>
              </a:buClr>
              <a:buFont typeface="Courier New" panose="02070309020205020404" pitchFamily="49" charset="0"/>
              <a:buNone/>
              <a:defRPr sz="1400" cap="none" spc="10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 rtl="0"/>
            <a:r>
              <a:rPr lang="de-DE" noProof="0"/>
              <a:t>Hier Text hinzufügen</a:t>
            </a:r>
          </a:p>
        </p:txBody>
      </p:sp>
      <p:sp>
        <p:nvSpPr>
          <p:cNvPr id="13" name="Textplatzhalter 14">
            <a:extLst>
              <a:ext uri="{FF2B5EF4-FFF2-40B4-BE49-F238E27FC236}">
                <a16:creationId xmlns:a16="http://schemas.microsoft.com/office/drawing/2014/main" id="{51F423C9-E1B4-4BD9-98A5-9397C32447D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563187" y="4076963"/>
            <a:ext cx="3023761" cy="1485635"/>
          </a:xfrm>
          <a:prstGeom prst="rect">
            <a:avLst/>
          </a:prstGeom>
        </p:spPr>
        <p:txBody>
          <a:bodyPr rtlCol="0" anchor="t"/>
          <a:lstStyle>
            <a:lvl1pPr marL="0" indent="0" algn="r">
              <a:lnSpc>
                <a:spcPct val="150000"/>
              </a:lnSpc>
              <a:spcBef>
                <a:spcPts val="0"/>
              </a:spcBef>
              <a:buClr>
                <a:schemeClr val="accent6"/>
              </a:buClr>
              <a:buFont typeface="Courier New" panose="02070309020205020404" pitchFamily="49" charset="0"/>
              <a:buNone/>
              <a:defRPr sz="1400" cap="none" spc="10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 rtl="0"/>
            <a:r>
              <a:rPr lang="de-DE" noProof="0"/>
              <a:t>Hier Text hinzufügen</a:t>
            </a:r>
          </a:p>
        </p:txBody>
      </p: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A0DF3CDE-1C08-4B0C-8DC3-9FCBBD3E61D4}"/>
              </a:ext>
            </a:extLst>
          </p:cNvPr>
          <p:cNvCxnSpPr>
            <a:cxnSpLocks/>
          </p:cNvCxnSpPr>
          <p:nvPr userDrawn="1"/>
        </p:nvCxnSpPr>
        <p:spPr>
          <a:xfrm>
            <a:off x="832513" y="3939883"/>
            <a:ext cx="2903678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C026C956-C6C4-4010-889F-B8D76203646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073324" y="2806964"/>
            <a:ext cx="2693128" cy="991689"/>
          </a:xfrm>
          <a:prstGeom prst="rect">
            <a:avLst/>
          </a:prstGeom>
        </p:spPr>
        <p:txBody>
          <a:bodyPr rtlCol="0" anchor="b"/>
          <a:lstStyle>
            <a:lvl1pPr marL="0" indent="0" algn="r">
              <a:buNone/>
              <a:defRPr sz="4000" b="1" kern="0" cap="all" spc="400" baseline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rtl="0"/>
            <a:r>
              <a:rPr lang="de-DE" noProof="0"/>
              <a:t>Titel hinzufügen</a:t>
            </a:r>
          </a:p>
        </p:txBody>
      </p:sp>
      <p:sp>
        <p:nvSpPr>
          <p:cNvPr id="16" name="Textplatzhalter 10">
            <a:extLst>
              <a:ext uri="{FF2B5EF4-FFF2-40B4-BE49-F238E27FC236}">
                <a16:creationId xmlns:a16="http://schemas.microsoft.com/office/drawing/2014/main" id="{A4D363AD-B16F-46C4-9856-EA9EAC699EF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940173" y="2806964"/>
            <a:ext cx="2693128" cy="991689"/>
          </a:xfrm>
          <a:prstGeom prst="rect">
            <a:avLst/>
          </a:prstGeom>
        </p:spPr>
        <p:txBody>
          <a:bodyPr rtlCol="0" anchor="b"/>
          <a:lstStyle>
            <a:lvl1pPr marL="0" indent="0" algn="r">
              <a:buNone/>
              <a:defRPr sz="4000" b="1" kern="0" cap="all" spc="400" baseline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rtl="0"/>
            <a:r>
              <a:rPr lang="de-DE" noProof="0"/>
              <a:t>Titel hinzufügen</a:t>
            </a:r>
          </a:p>
        </p:txBody>
      </p: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D6E9BAEE-70B0-4F15-B6B7-D5AE0227618F}"/>
              </a:ext>
            </a:extLst>
          </p:cNvPr>
          <p:cNvCxnSpPr>
            <a:cxnSpLocks/>
          </p:cNvCxnSpPr>
          <p:nvPr userDrawn="1"/>
        </p:nvCxnSpPr>
        <p:spPr>
          <a:xfrm>
            <a:off x="4699359" y="3939883"/>
            <a:ext cx="2903678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8F0848BB-EF65-4D43-AC18-9C4F4749CA6D}"/>
              </a:ext>
            </a:extLst>
          </p:cNvPr>
          <p:cNvCxnSpPr>
            <a:cxnSpLocks/>
          </p:cNvCxnSpPr>
          <p:nvPr userDrawn="1"/>
        </p:nvCxnSpPr>
        <p:spPr>
          <a:xfrm>
            <a:off x="8566207" y="3939883"/>
            <a:ext cx="2903678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>
            <a:extLst>
              <a:ext uri="{FF2B5EF4-FFF2-40B4-BE49-F238E27FC236}">
                <a16:creationId xmlns:a16="http://schemas.microsoft.com/office/drawing/2014/main" id="{C7CA7F01-3F2D-4396-A7D4-3D21C56D7F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9016" y="1643321"/>
            <a:ext cx="4856634" cy="466344"/>
          </a:xfrm>
        </p:spPr>
        <p:txBody>
          <a:bodyPr rtlCol="0">
            <a:noAutofit/>
          </a:bodyPr>
          <a:lstStyle>
            <a:lvl1pPr>
              <a:lnSpc>
                <a:spcPct val="100000"/>
              </a:lnSpc>
              <a:defRPr sz="2800">
                <a:ln w="19050">
                  <a:solidFill>
                    <a:schemeClr val="accent5"/>
                  </a:solidFill>
                </a:ln>
              </a:defRPr>
            </a:lvl1pPr>
          </a:lstStyle>
          <a:p>
            <a:pPr rtl="0"/>
            <a:r>
              <a:rPr lang="de-DE" noProof="0"/>
              <a:t>Titel durch Klicken hinzufügen</a:t>
            </a:r>
          </a:p>
        </p:txBody>
      </p:sp>
    </p:spTree>
    <p:extLst>
      <p:ext uri="{BB962C8B-B14F-4D97-AF65-F5344CB8AC3E}">
        <p14:creationId xmlns:p14="http://schemas.microsoft.com/office/powerpoint/2010/main" val="369204544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rktübersic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0807DA3-5459-9D04-AA9A-3A8978A827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681236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6" imgH="486" progId="TCLayout.ActiveDocument.1">
                  <p:embed/>
                </p:oleObj>
              </mc:Choice>
              <mc:Fallback>
                <p:oleObj name="think-cell Slide" r:id="rId3" imgW="486" imgH="4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0807DA3-5459-9D04-AA9A-3A8978A827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Bild 2">
            <a:extLst>
              <a:ext uri="{FF2B5EF4-FFF2-40B4-BE49-F238E27FC236}">
                <a16:creationId xmlns:a16="http://schemas.microsoft.com/office/drawing/2014/main" id="{1927D588-C832-4149-9B9F-D817459D8B7F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690" y="0"/>
            <a:ext cx="12188620" cy="6858000"/>
          </a:xfrm>
          <a:prstGeom prst="rect">
            <a:avLst/>
          </a:prstGeom>
        </p:spPr>
      </p:pic>
      <p:sp>
        <p:nvSpPr>
          <p:cNvPr id="8" name="Datumsplatzhalter 4">
            <a:extLst>
              <a:ext uri="{FF2B5EF4-FFF2-40B4-BE49-F238E27FC236}">
                <a16:creationId xmlns:a16="http://schemas.microsoft.com/office/drawing/2014/main" id="{75996B35-18DB-63BE-0419-8CDF558CF92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</p:spPr>
        <p:txBody>
          <a:bodyPr rtlCol="0"/>
          <a:lstStyle/>
          <a:p>
            <a:pPr rtl="0"/>
            <a:r>
              <a:rPr lang="en-US" noProof="0"/>
              <a:t>Q-Hack 25</a:t>
            </a:r>
            <a:endParaRPr lang="de-DE" noProof="0"/>
          </a:p>
        </p:txBody>
      </p:sp>
      <p:sp>
        <p:nvSpPr>
          <p:cNvPr id="9" name="Fußzeilenplatzhalter 5">
            <a:extLst>
              <a:ext uri="{FF2B5EF4-FFF2-40B4-BE49-F238E27FC236}">
                <a16:creationId xmlns:a16="http://schemas.microsoft.com/office/drawing/2014/main" id="{AD552477-9EA1-86A1-21D4-64FB5D0737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 rtlCol="0"/>
          <a:lstStyle/>
          <a:p>
            <a:pPr rtl="0"/>
            <a:r>
              <a:rPr lang="de-DE" noProof="0"/>
              <a:t>disQover Pitch</a:t>
            </a:r>
          </a:p>
        </p:txBody>
      </p:sp>
      <p:sp>
        <p:nvSpPr>
          <p:cNvPr id="17" name="Foliennummernplatzhalter 6">
            <a:extLst>
              <a:ext uri="{FF2B5EF4-FFF2-40B4-BE49-F238E27FC236}">
                <a16:creationId xmlns:a16="http://schemas.microsoft.com/office/drawing/2014/main" id="{F5D5CD7A-110F-2CAA-6ADC-33A892BCA7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 rtlCol="0"/>
          <a:lstStyle/>
          <a:p>
            <a:pPr rtl="0"/>
            <a:fld id="{A402E4C0-AD5E-4E8C-9F21-7CCE474BDCEB}" type="slidenum">
              <a:rPr lang="de-DE" noProof="0" smtClean="0"/>
              <a:t>‹#›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414800791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rkt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 2">
            <a:extLst>
              <a:ext uri="{FF2B5EF4-FFF2-40B4-BE49-F238E27FC236}">
                <a16:creationId xmlns:a16="http://schemas.microsoft.com/office/drawing/2014/main" id="{4E6D8EB4-0AAB-4C86-96ED-AB74FA56A67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0" y="0"/>
            <a:ext cx="12188620" cy="6858000"/>
          </a:xfrm>
          <a:prstGeom prst="rect">
            <a:avLst/>
          </a:prstGeom>
        </p:spPr>
      </p:pic>
      <p:sp>
        <p:nvSpPr>
          <p:cNvPr id="10" name="Bildplatzhalter 7">
            <a:extLst>
              <a:ext uri="{FF2B5EF4-FFF2-40B4-BE49-F238E27FC236}">
                <a16:creationId xmlns:a16="http://schemas.microsoft.com/office/drawing/2014/main" id="{5DEE423F-FC4A-461D-8AA7-F7C14B80666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5334461" cy="6867376"/>
          </a:xfrm>
        </p:spPr>
        <p:txBody>
          <a:bodyPr rtlCol="0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rtl="0"/>
            <a:r>
              <a:rPr lang="de-DE" noProof="0"/>
              <a:t>Zum Hinzufügen eines Fotos klick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77D30EC-51F8-4EBE-9AC8-349D6E064E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r>
              <a:rPr lang="en-US" noProof="0"/>
              <a:t>Q-Hack 25</a:t>
            </a:r>
            <a:endParaRPr lang="de-DE" noProof="0"/>
          </a:p>
        </p:txBody>
      </p:sp>
      <p:sp>
        <p:nvSpPr>
          <p:cNvPr id="14" name="Textplatzhalter 10">
            <a:extLst>
              <a:ext uri="{FF2B5EF4-FFF2-40B4-BE49-F238E27FC236}">
                <a16:creationId xmlns:a16="http://schemas.microsoft.com/office/drawing/2014/main" id="{9EF7FC71-AF21-4CDA-8E86-E05EB4F1C44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53468" y="3260492"/>
            <a:ext cx="1152144" cy="768096"/>
          </a:xfrm>
          <a:prstGeom prst="rect">
            <a:avLst/>
          </a:prstGeom>
          <a:ln w="28575">
            <a:solidFill>
              <a:schemeClr val="accent5">
                <a:lumMod val="40000"/>
                <a:lumOff val="60000"/>
              </a:schemeClr>
            </a:solidFill>
          </a:ln>
        </p:spPr>
        <p:txBody>
          <a:bodyPr rtlCol="0" anchor="ctr"/>
          <a:lstStyle>
            <a:lvl1pPr marL="0" indent="0" algn="ctr">
              <a:buNone/>
              <a:defRPr sz="2400" b="1" cap="all" spc="100" baseline="0">
                <a:solidFill>
                  <a:schemeClr val="accent5">
                    <a:lumMod val="20000"/>
                    <a:lumOff val="8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rtl="0"/>
            <a:r>
              <a:rPr lang="de-DE" noProof="0"/>
              <a:t>2 Mrd. €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FE21B81-6A13-47D5-AD62-B1B0E48680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r>
              <a:rPr lang="de-DE" noProof="0"/>
              <a:t>disQover Pitch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12BB476-8DFF-468F-B950-1F980EB4D5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A402E4C0-AD5E-4E8C-9F21-7CCE474BDCEB}" type="slidenum">
              <a:rPr lang="de-DE" noProof="0" smtClean="0"/>
              <a:t>‹#›</a:t>
            </a:fld>
            <a:endParaRPr lang="de-DE" noProof="0"/>
          </a:p>
        </p:txBody>
      </p:sp>
      <p:sp>
        <p:nvSpPr>
          <p:cNvPr id="16" name="Textplatzhalter 10">
            <a:extLst>
              <a:ext uri="{FF2B5EF4-FFF2-40B4-BE49-F238E27FC236}">
                <a16:creationId xmlns:a16="http://schemas.microsoft.com/office/drawing/2014/main" id="{BF893A53-04CF-497B-9C3D-502C92BA0DA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53467" y="4773463"/>
            <a:ext cx="1152144" cy="768096"/>
          </a:xfrm>
          <a:prstGeom prst="rect">
            <a:avLst/>
          </a:prstGeom>
          <a:ln w="28575">
            <a:solidFill>
              <a:schemeClr val="accent5">
                <a:lumMod val="40000"/>
                <a:lumOff val="60000"/>
              </a:schemeClr>
            </a:solidFill>
          </a:ln>
        </p:spPr>
        <p:txBody>
          <a:bodyPr rtlCol="0" anchor="ctr"/>
          <a:lstStyle>
            <a:lvl1pPr marL="0" indent="0" algn="ctr">
              <a:buNone/>
              <a:defRPr sz="2400" b="1" cap="all" spc="100" baseline="0">
                <a:solidFill>
                  <a:schemeClr val="accent5">
                    <a:lumMod val="20000"/>
                    <a:lumOff val="8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rtl="0"/>
            <a:r>
              <a:rPr lang="de-DE" noProof="0"/>
              <a:t>1 Mrd. €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58BD5CDD-220E-41E0-82DD-820C0D834A4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817970" y="1609772"/>
            <a:ext cx="3365003" cy="1171533"/>
          </a:xfrm>
          <a:prstGeom prst="rect">
            <a:avLst/>
          </a:prstGeom>
        </p:spPr>
        <p:txBody>
          <a:bodyPr rtlCol="0" anchor="t">
            <a:noAutofit/>
          </a:bodyPr>
          <a:lstStyle>
            <a:lvl1pPr marL="0" indent="0" algn="l">
              <a:lnSpc>
                <a:spcPct val="125000"/>
              </a:lnSpc>
              <a:spcBef>
                <a:spcPts val="500"/>
              </a:spcBef>
              <a:buNone/>
              <a:defRPr sz="1400" cap="none" spc="10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 rtl="0"/>
            <a:r>
              <a:rPr lang="de-DE" noProof="0"/>
              <a:t>Klicken Sie, um Text hinzuzufügen.</a:t>
            </a:r>
          </a:p>
        </p:txBody>
      </p:sp>
      <p:sp>
        <p:nvSpPr>
          <p:cNvPr id="12" name="Textplatzhalter 10">
            <a:extLst>
              <a:ext uri="{FF2B5EF4-FFF2-40B4-BE49-F238E27FC236}">
                <a16:creationId xmlns:a16="http://schemas.microsoft.com/office/drawing/2014/main" id="{253384AB-173D-4216-A221-BFA565FC127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47375" y="1747520"/>
            <a:ext cx="1152144" cy="768096"/>
          </a:xfrm>
          <a:prstGeom prst="rect">
            <a:avLst/>
          </a:prstGeom>
          <a:ln w="28575">
            <a:solidFill>
              <a:schemeClr val="accent5">
                <a:lumMod val="40000"/>
                <a:lumOff val="60000"/>
              </a:schemeClr>
            </a:solidFill>
          </a:ln>
        </p:spPr>
        <p:txBody>
          <a:bodyPr rtlCol="0" anchor="ctr"/>
          <a:lstStyle>
            <a:lvl1pPr marL="0" indent="0" algn="ctr">
              <a:buNone/>
              <a:defRPr sz="2400" b="1" cap="all" spc="100" baseline="0">
                <a:solidFill>
                  <a:schemeClr val="accent5">
                    <a:lumMod val="20000"/>
                    <a:lumOff val="8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rtl="0"/>
            <a:r>
              <a:rPr lang="de-DE" noProof="0"/>
              <a:t>3 Mrd. €</a:t>
            </a:r>
          </a:p>
        </p:txBody>
      </p:sp>
      <p:sp>
        <p:nvSpPr>
          <p:cNvPr id="20" name="Textplatzhalter 10">
            <a:extLst>
              <a:ext uri="{FF2B5EF4-FFF2-40B4-BE49-F238E27FC236}">
                <a16:creationId xmlns:a16="http://schemas.microsoft.com/office/drawing/2014/main" id="{45638026-D669-4C2A-82A4-5F35D27DCA4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817970" y="3129515"/>
            <a:ext cx="3365003" cy="1170432"/>
          </a:xfrm>
          <a:prstGeom prst="rect">
            <a:avLst/>
          </a:prstGeom>
        </p:spPr>
        <p:txBody>
          <a:bodyPr rtlCol="0" anchor="t">
            <a:noAutofit/>
          </a:bodyPr>
          <a:lstStyle>
            <a:lvl1pPr marL="0" indent="0" algn="l">
              <a:lnSpc>
                <a:spcPct val="125000"/>
              </a:lnSpc>
              <a:spcBef>
                <a:spcPts val="500"/>
              </a:spcBef>
              <a:buNone/>
              <a:defRPr sz="1400" cap="none" spc="10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 rtl="0"/>
            <a:r>
              <a:rPr lang="de-DE" noProof="0"/>
              <a:t>Klicken Sie, um Text hinzuzufügen.</a:t>
            </a:r>
          </a:p>
        </p:txBody>
      </p:sp>
      <p:sp>
        <p:nvSpPr>
          <p:cNvPr id="21" name="Textplatzhalter 10">
            <a:extLst>
              <a:ext uri="{FF2B5EF4-FFF2-40B4-BE49-F238E27FC236}">
                <a16:creationId xmlns:a16="http://schemas.microsoft.com/office/drawing/2014/main" id="{A19EAA97-D0F2-464B-8450-83BF202CECF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817970" y="4648156"/>
            <a:ext cx="3365003" cy="1170432"/>
          </a:xfrm>
          <a:prstGeom prst="rect">
            <a:avLst/>
          </a:prstGeom>
        </p:spPr>
        <p:txBody>
          <a:bodyPr rtlCol="0" anchor="t">
            <a:noAutofit/>
          </a:bodyPr>
          <a:lstStyle>
            <a:lvl1pPr marL="0" indent="0" algn="l">
              <a:lnSpc>
                <a:spcPct val="125000"/>
              </a:lnSpc>
              <a:spcBef>
                <a:spcPts val="500"/>
              </a:spcBef>
              <a:buNone/>
              <a:defRPr sz="1400" cap="none" spc="10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 rtl="0"/>
            <a:r>
              <a:rPr lang="de-DE" noProof="0"/>
              <a:t>Klicken Sie, um Text hinzuzufügen.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DFF2174-FDCE-466A-8A4C-06AD6CAA44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07016" y="746631"/>
            <a:ext cx="5184648" cy="466344"/>
          </a:xfrm>
        </p:spPr>
        <p:txBody>
          <a:bodyPr rtlCol="0">
            <a:noAutofit/>
          </a:bodyPr>
          <a:lstStyle>
            <a:lvl1pPr>
              <a:lnSpc>
                <a:spcPct val="100000"/>
              </a:lnSpc>
              <a:defRPr sz="2800">
                <a:ln w="19050">
                  <a:solidFill>
                    <a:schemeClr val="bg1"/>
                  </a:solidFill>
                </a:ln>
              </a:defRPr>
            </a:lvl1pPr>
          </a:lstStyle>
          <a:p>
            <a:pPr rtl="0"/>
            <a:r>
              <a:rPr lang="de-DE" noProof="0"/>
              <a:t>Titel durch Klicken hinzufügen</a:t>
            </a:r>
          </a:p>
        </p:txBody>
      </p:sp>
    </p:spTree>
    <p:extLst>
      <p:ext uri="{BB962C8B-B14F-4D97-AF65-F5344CB8AC3E}">
        <p14:creationId xmlns:p14="http://schemas.microsoft.com/office/powerpoint/2010/main" val="97232224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nsere Wettbewerber">
    <p:bg>
      <p:bgPr>
        <a:solidFill>
          <a:schemeClr val="bg2">
            <a:lumMod val="1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Bildplatzhalter 7">
            <a:extLst>
              <a:ext uri="{FF2B5EF4-FFF2-40B4-BE49-F238E27FC236}">
                <a16:creationId xmlns:a16="http://schemas.microsoft.com/office/drawing/2014/main" id="{9216DCA9-E871-422D-B12D-3E1C39ACD2ED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 rot="5400000" flipH="1">
            <a:off x="-2092961" y="2092960"/>
            <a:ext cx="6858002" cy="2672081"/>
          </a:xfrm>
        </p:spPr>
        <p:txBody>
          <a:bodyPr rtlCol="0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rtl="0"/>
            <a:r>
              <a:rPr lang="de-DE" noProof="0"/>
              <a:t>Klicken, um ein Foto hinzuzufüg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6754628-3BB3-414A-88E4-67B3809A62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r>
              <a:rPr lang="en-US" noProof="0"/>
              <a:t>Q-Hack 25</a:t>
            </a:r>
            <a:endParaRPr lang="de-DE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3D99CEA-3489-476A-9C9D-ED977FE6EA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r>
              <a:rPr lang="de-DE" noProof="0"/>
              <a:t>disQover Pitch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DCD55B0-9BDF-49CC-B30F-96112214E7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A402E4C0-AD5E-4E8C-9F21-7CCE474BDCEB}" type="slidenum">
              <a:rPr lang="de-DE" noProof="0" smtClean="0"/>
              <a:t>‹#›</a:t>
            </a:fld>
            <a:endParaRPr lang="de-DE" noProof="0"/>
          </a:p>
        </p:txBody>
      </p:sp>
      <p:sp>
        <p:nvSpPr>
          <p:cNvPr id="17" name="Textplatzhalter 10">
            <a:extLst>
              <a:ext uri="{FF2B5EF4-FFF2-40B4-BE49-F238E27FC236}">
                <a16:creationId xmlns:a16="http://schemas.microsoft.com/office/drawing/2014/main" id="{F9CF3D99-4BB8-4944-A82E-385209DF3D6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811826" y="2881982"/>
            <a:ext cx="3975054" cy="2966740"/>
          </a:xfrm>
          <a:prstGeom prst="rect">
            <a:avLst/>
          </a:prstGeom>
        </p:spPr>
        <p:txBody>
          <a:bodyPr rtlCol="0" anchor="t">
            <a:normAutofit/>
          </a:bodyPr>
          <a:lstStyle>
            <a:lvl1pPr marL="0" indent="0" algn="l">
              <a:lnSpc>
                <a:spcPct val="125000"/>
              </a:lnSpc>
              <a:spcBef>
                <a:spcPts val="1000"/>
              </a:spcBef>
              <a:buNone/>
              <a:defRPr sz="1400" cap="none" spc="10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 rtl="0"/>
            <a:r>
              <a:rPr lang="de-DE" noProof="0"/>
              <a:t>Klicken Sie, um Text hinzuzufügen.</a:t>
            </a:r>
          </a:p>
        </p:txBody>
      </p:sp>
      <p:sp>
        <p:nvSpPr>
          <p:cNvPr id="18" name="Textplatzhalter 10">
            <a:extLst>
              <a:ext uri="{FF2B5EF4-FFF2-40B4-BE49-F238E27FC236}">
                <a16:creationId xmlns:a16="http://schemas.microsoft.com/office/drawing/2014/main" id="{083CED13-2FB7-4DA4-87BD-B5AEF0C6310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811826" y="2502477"/>
            <a:ext cx="3975054" cy="426393"/>
          </a:xfrm>
          <a:prstGeom prst="rect">
            <a:avLst/>
          </a:prstGeom>
        </p:spPr>
        <p:txBody>
          <a:bodyPr rtlCol="0" anchor="b">
            <a:normAutofit/>
          </a:bodyPr>
          <a:lstStyle>
            <a:lvl1pPr marL="0" indent="0" algn="l">
              <a:buNone/>
              <a:defRPr sz="1600" b="1" cap="all" spc="100" baseline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rtl="0"/>
            <a:r>
              <a:rPr lang="de-DE" noProof="0"/>
              <a:t>Untertitel durch Klicken hinzufügen</a:t>
            </a:r>
          </a:p>
        </p:txBody>
      </p:sp>
      <p:sp>
        <p:nvSpPr>
          <p:cNvPr id="19" name="Textplatzhalter 10">
            <a:extLst>
              <a:ext uri="{FF2B5EF4-FFF2-40B4-BE49-F238E27FC236}">
                <a16:creationId xmlns:a16="http://schemas.microsoft.com/office/drawing/2014/main" id="{D240762F-003B-4B0E-A561-6734EA9AC85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378746" y="2881982"/>
            <a:ext cx="3695653" cy="2966740"/>
          </a:xfrm>
          <a:prstGeom prst="rect">
            <a:avLst/>
          </a:prstGeom>
        </p:spPr>
        <p:txBody>
          <a:bodyPr rtlCol="0" anchor="t">
            <a:normAutofit/>
          </a:bodyPr>
          <a:lstStyle>
            <a:lvl1pPr marL="0" indent="0" algn="l">
              <a:lnSpc>
                <a:spcPct val="125000"/>
              </a:lnSpc>
              <a:spcBef>
                <a:spcPts val="1000"/>
              </a:spcBef>
              <a:buNone/>
              <a:defRPr sz="1400" cap="none" spc="10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 rtl="0"/>
            <a:r>
              <a:rPr lang="de-DE" noProof="0"/>
              <a:t>Klicken Sie, um Text hinzuzufügen.</a:t>
            </a:r>
          </a:p>
        </p:txBody>
      </p:sp>
      <p:sp>
        <p:nvSpPr>
          <p:cNvPr id="20" name="Textplatzhalter 10">
            <a:extLst>
              <a:ext uri="{FF2B5EF4-FFF2-40B4-BE49-F238E27FC236}">
                <a16:creationId xmlns:a16="http://schemas.microsoft.com/office/drawing/2014/main" id="{387E9583-831E-4863-9A96-3E583A98F28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378746" y="2502477"/>
            <a:ext cx="3695653" cy="426393"/>
          </a:xfrm>
          <a:prstGeom prst="rect">
            <a:avLst/>
          </a:prstGeom>
        </p:spPr>
        <p:txBody>
          <a:bodyPr rtlCol="0" anchor="b">
            <a:normAutofit/>
          </a:bodyPr>
          <a:lstStyle>
            <a:lvl1pPr marL="0" indent="0" algn="l">
              <a:buNone/>
              <a:defRPr sz="1600" b="1" cap="all" spc="100" baseline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rtl="0"/>
            <a:r>
              <a:rPr lang="de-DE" noProof="0"/>
              <a:t>Untertitel durch Klicken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96F4071-8FD4-4FF1-BA06-DD4D780FE4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96032" y="1649421"/>
            <a:ext cx="5184648" cy="466344"/>
          </a:xfrm>
        </p:spPr>
        <p:txBody>
          <a:bodyPr rtlCol="0">
            <a:noAutofit/>
          </a:bodyPr>
          <a:lstStyle>
            <a:lvl1pPr>
              <a:lnSpc>
                <a:spcPct val="100000"/>
              </a:lnSpc>
              <a:defRPr sz="2800">
                <a:ln w="19050">
                  <a:solidFill>
                    <a:schemeClr val="accent6"/>
                  </a:solidFill>
                </a:ln>
              </a:defRPr>
            </a:lvl1pPr>
          </a:lstStyle>
          <a:p>
            <a:pPr rtl="0"/>
            <a:r>
              <a:rPr lang="de-DE" noProof="0"/>
              <a:t>Titel durch Klicken hinzufügen</a:t>
            </a:r>
          </a:p>
        </p:txBody>
      </p:sp>
    </p:spTree>
    <p:extLst>
      <p:ext uri="{BB962C8B-B14F-4D97-AF65-F5344CB8AC3E}">
        <p14:creationId xmlns:p14="http://schemas.microsoft.com/office/powerpoint/2010/main" val="395132091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nsere Wettbewerber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 5">
            <a:extLst>
              <a:ext uri="{FF2B5EF4-FFF2-40B4-BE49-F238E27FC236}">
                <a16:creationId xmlns:a16="http://schemas.microsoft.com/office/drawing/2014/main" id="{A954AA95-575B-4060-9443-53B34766449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0" y="0"/>
            <a:ext cx="12188620" cy="6858000"/>
          </a:xfrm>
          <a:prstGeom prst="rect">
            <a:avLst/>
          </a:prstGeom>
        </p:spPr>
      </p:pic>
      <p:sp>
        <p:nvSpPr>
          <p:cNvPr id="22" name="Rechteck 21">
            <a:extLst>
              <a:ext uri="{FF2B5EF4-FFF2-40B4-BE49-F238E27FC236}">
                <a16:creationId xmlns:a16="http://schemas.microsoft.com/office/drawing/2014/main" id="{38BF2BB6-8F62-424E-B01D-F90A0DB7BFB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>
              <a:lumMod val="50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noProof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5822AF5C-69BC-4A87-8E5C-E473F6A73E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r>
              <a:rPr lang="en-US" noProof="0"/>
              <a:t>Q-Hack 25</a:t>
            </a:r>
            <a:endParaRPr lang="de-DE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46AD827-24BF-4C7D-9F16-1E26E09A60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r>
              <a:rPr lang="de-DE" noProof="0"/>
              <a:t>disQover Pitch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DBEEF33-0303-4BF6-8C9A-08DE4CB645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A402E4C0-AD5E-4E8C-9F21-7CCE474BDCEB}" type="slidenum">
              <a:rPr lang="de-DE" noProof="0" smtClean="0"/>
              <a:pPr rtl="0"/>
              <a:t>‹#›</a:t>
            </a:fld>
            <a:endParaRPr lang="de-DE" noProof="0"/>
          </a:p>
        </p:txBody>
      </p:sp>
      <p:sp>
        <p:nvSpPr>
          <p:cNvPr id="8" name="Textplatzhalter 14">
            <a:extLst>
              <a:ext uri="{FF2B5EF4-FFF2-40B4-BE49-F238E27FC236}">
                <a16:creationId xmlns:a16="http://schemas.microsoft.com/office/drawing/2014/main" id="{CC14BDE6-5903-4EFC-B3C7-B7B219402D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237839" y="1538273"/>
            <a:ext cx="1706965" cy="492025"/>
          </a:xfrm>
          <a:prstGeom prst="rect">
            <a:avLst/>
          </a:prstGeom>
        </p:spPr>
        <p:txBody>
          <a:bodyPr rtlCol="0" anchor="ctr"/>
          <a:lstStyle>
            <a:lvl1pPr marL="0" indent="0" algn="ctr">
              <a:lnSpc>
                <a:spcPct val="100000"/>
              </a:lnSpc>
              <a:buNone/>
              <a:defRPr sz="1000" b="1" cap="all" spc="200" baseline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rtl="0"/>
            <a:r>
              <a:rPr lang="de-DE" noProof="0"/>
              <a:t>Klicken, um Namen hinzuzufügen</a:t>
            </a:r>
          </a:p>
        </p:txBody>
      </p:sp>
      <p:sp>
        <p:nvSpPr>
          <p:cNvPr id="9" name="Textplatzhalter 14">
            <a:extLst>
              <a:ext uri="{FF2B5EF4-FFF2-40B4-BE49-F238E27FC236}">
                <a16:creationId xmlns:a16="http://schemas.microsoft.com/office/drawing/2014/main" id="{E19954FA-533A-4FF9-88B2-102C833FBD4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237839" y="5407116"/>
            <a:ext cx="1706965" cy="492025"/>
          </a:xfrm>
          <a:prstGeom prst="rect">
            <a:avLst/>
          </a:prstGeom>
        </p:spPr>
        <p:txBody>
          <a:bodyPr rtlCol="0" anchor="ctr"/>
          <a:lstStyle>
            <a:lvl1pPr marL="0" indent="0" algn="ctr">
              <a:lnSpc>
                <a:spcPct val="100000"/>
              </a:lnSpc>
              <a:buNone/>
              <a:defRPr sz="1000" b="1" cap="all" spc="200" baseline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rtl="0"/>
            <a:r>
              <a:rPr lang="de-DE" noProof="0"/>
              <a:t>Klicken, um einen Namen hinzuzufügen</a:t>
            </a:r>
          </a:p>
        </p:txBody>
      </p:sp>
      <p:sp>
        <p:nvSpPr>
          <p:cNvPr id="10" name="Textplatzhalter 14">
            <a:extLst>
              <a:ext uri="{FF2B5EF4-FFF2-40B4-BE49-F238E27FC236}">
                <a16:creationId xmlns:a16="http://schemas.microsoft.com/office/drawing/2014/main" id="{E29BB699-DB47-4A35-9B5B-63C7EFC2284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441651" y="3467155"/>
            <a:ext cx="1380681" cy="492025"/>
          </a:xfrm>
          <a:prstGeom prst="rect">
            <a:avLst/>
          </a:prstGeom>
        </p:spPr>
        <p:txBody>
          <a:bodyPr rtlCol="0" anchor="ctr"/>
          <a:lstStyle>
            <a:lvl1pPr marL="0" indent="0" algn="ctr">
              <a:lnSpc>
                <a:spcPct val="100000"/>
              </a:lnSpc>
              <a:buNone/>
              <a:defRPr sz="1000" b="1" cap="all" spc="200" baseline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rtl="0"/>
            <a:r>
              <a:rPr lang="de-DE" noProof="0"/>
              <a:t>Klicken, um Namen hinzuzufügen</a:t>
            </a:r>
          </a:p>
        </p:txBody>
      </p:sp>
      <p:sp>
        <p:nvSpPr>
          <p:cNvPr id="11" name="Textplatzhalter 14">
            <a:extLst>
              <a:ext uri="{FF2B5EF4-FFF2-40B4-BE49-F238E27FC236}">
                <a16:creationId xmlns:a16="http://schemas.microsoft.com/office/drawing/2014/main" id="{4EFD147E-AEE9-40FA-96D5-7DBE7603349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44687" y="2307743"/>
            <a:ext cx="1183179" cy="492025"/>
          </a:xfrm>
          <a:prstGeom prst="rect">
            <a:avLst/>
          </a:prstGeom>
        </p:spPr>
        <p:txBody>
          <a:bodyPr rtlCol="0" anchor="ctr"/>
          <a:lstStyle>
            <a:lvl1pPr marL="0" indent="0" algn="ctr">
              <a:lnSpc>
                <a:spcPct val="100000"/>
              </a:lnSpc>
              <a:buNone/>
              <a:defRPr sz="1200" b="1" cap="all" spc="200" baseline="0">
                <a:solidFill>
                  <a:schemeClr val="accent2">
                    <a:lumMod val="20000"/>
                    <a:lumOff val="8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rtl="0"/>
            <a:r>
              <a:rPr lang="de-DE" noProof="0"/>
              <a:t>Klicken, um Namen hinzuzufügen</a:t>
            </a:r>
          </a:p>
        </p:txBody>
      </p:sp>
      <p:sp>
        <p:nvSpPr>
          <p:cNvPr id="12" name="Textplatzhalter 14">
            <a:extLst>
              <a:ext uri="{FF2B5EF4-FFF2-40B4-BE49-F238E27FC236}">
                <a16:creationId xmlns:a16="http://schemas.microsoft.com/office/drawing/2014/main" id="{035518AB-0629-41B1-8670-DAE8C31C999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181179" y="4420460"/>
            <a:ext cx="1183179" cy="492025"/>
          </a:xfrm>
          <a:prstGeom prst="rect">
            <a:avLst/>
          </a:prstGeom>
        </p:spPr>
        <p:txBody>
          <a:bodyPr rtlCol="0" anchor="ctr"/>
          <a:lstStyle>
            <a:lvl1pPr marL="0" indent="0" algn="ctr">
              <a:lnSpc>
                <a:spcPct val="100000"/>
              </a:lnSpc>
              <a:buNone/>
              <a:defRPr sz="1200" b="1" cap="all" spc="200" baseline="0">
                <a:solidFill>
                  <a:schemeClr val="accent1">
                    <a:lumMod val="20000"/>
                    <a:lumOff val="8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rtl="0"/>
            <a:r>
              <a:rPr lang="de-DE" noProof="0"/>
              <a:t>Klicken, um Namen hinzuzufügen</a:t>
            </a:r>
          </a:p>
        </p:txBody>
      </p:sp>
      <p:sp>
        <p:nvSpPr>
          <p:cNvPr id="13" name="Textplatzhalter 14">
            <a:extLst>
              <a:ext uri="{FF2B5EF4-FFF2-40B4-BE49-F238E27FC236}">
                <a16:creationId xmlns:a16="http://schemas.microsoft.com/office/drawing/2014/main" id="{D84B55A2-EE63-46F3-80EA-C4F512388C1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643702" y="4552190"/>
            <a:ext cx="1183179" cy="492025"/>
          </a:xfrm>
          <a:prstGeom prst="rect">
            <a:avLst/>
          </a:prstGeom>
        </p:spPr>
        <p:txBody>
          <a:bodyPr rtlCol="0" anchor="ctr"/>
          <a:lstStyle>
            <a:lvl1pPr marL="0" indent="0" algn="ctr">
              <a:lnSpc>
                <a:spcPct val="100000"/>
              </a:lnSpc>
              <a:buNone/>
              <a:defRPr sz="1200" b="1" cap="all" spc="200" baseline="0">
                <a:solidFill>
                  <a:schemeClr val="accent6">
                    <a:lumMod val="40000"/>
                    <a:lumOff val="6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rtl="0"/>
            <a:r>
              <a:rPr lang="de-DE" noProof="0"/>
              <a:t>Klicken, um Namen hinzuzufügen</a:t>
            </a:r>
          </a:p>
        </p:txBody>
      </p:sp>
      <p:sp>
        <p:nvSpPr>
          <p:cNvPr id="14" name="Textplatzhalter 14">
            <a:extLst>
              <a:ext uri="{FF2B5EF4-FFF2-40B4-BE49-F238E27FC236}">
                <a16:creationId xmlns:a16="http://schemas.microsoft.com/office/drawing/2014/main" id="{EDED8D5C-7B18-4E79-B6B4-E59FAC3A83D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400052" y="4120885"/>
            <a:ext cx="1183179" cy="492025"/>
          </a:xfrm>
          <a:prstGeom prst="rect">
            <a:avLst/>
          </a:prstGeom>
        </p:spPr>
        <p:txBody>
          <a:bodyPr rtlCol="0" anchor="ctr"/>
          <a:lstStyle>
            <a:lvl1pPr marL="0" indent="0" algn="ctr">
              <a:lnSpc>
                <a:spcPct val="100000"/>
              </a:lnSpc>
              <a:buNone/>
              <a:defRPr sz="1200" b="1" cap="all" spc="200" baseline="0">
                <a:solidFill>
                  <a:schemeClr val="accent1">
                    <a:lumMod val="40000"/>
                    <a:lumOff val="6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rtl="0"/>
            <a:r>
              <a:rPr lang="de-DE" noProof="0"/>
              <a:t>Klicken, um Namen hinzuzufügen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E8B6D903-1EAA-44AD-A3D8-6256873B7A2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545032" y="3467155"/>
            <a:ext cx="1209143" cy="492025"/>
          </a:xfrm>
          <a:prstGeom prst="rect">
            <a:avLst/>
          </a:prstGeom>
        </p:spPr>
        <p:txBody>
          <a:bodyPr rtlCol="0" anchor="ctr"/>
          <a:lstStyle>
            <a:lvl1pPr marL="0" indent="0" algn="ctr">
              <a:lnSpc>
                <a:spcPct val="100000"/>
              </a:lnSpc>
              <a:buNone/>
              <a:defRPr sz="1000" b="1" cap="all" spc="200" baseline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rtl="0"/>
            <a:r>
              <a:rPr lang="de-DE" noProof="0"/>
              <a:t>Klicken, um Namen hinzuzufügen</a:t>
            </a:r>
          </a:p>
        </p:txBody>
      </p:sp>
      <p:sp>
        <p:nvSpPr>
          <p:cNvPr id="18" name="Textplatzhalter 14">
            <a:extLst>
              <a:ext uri="{FF2B5EF4-FFF2-40B4-BE49-F238E27FC236}">
                <a16:creationId xmlns:a16="http://schemas.microsoft.com/office/drawing/2014/main" id="{9D316786-C25C-4139-9C9E-B55FEA3C4AC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754219" y="2067508"/>
            <a:ext cx="1706965" cy="1048575"/>
          </a:xfrm>
          <a:prstGeom prst="rect">
            <a:avLst/>
          </a:prstGeom>
        </p:spPr>
        <p:txBody>
          <a:bodyPr rtlCol="0" anchor="ctr"/>
          <a:lstStyle>
            <a:lvl1pPr marL="0" indent="0" algn="ctr">
              <a:lnSpc>
                <a:spcPct val="100000"/>
              </a:lnSpc>
              <a:buNone/>
              <a:defRPr sz="1600" b="1" cap="all" spc="2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rtl="0"/>
            <a:r>
              <a:rPr lang="de-DE" noProof="0"/>
              <a:t>Klicken, um Namen hinzuzufügen</a:t>
            </a:r>
          </a:p>
        </p:txBody>
      </p:sp>
      <p:sp>
        <p:nvSpPr>
          <p:cNvPr id="20" name="Textplatzhalter 14">
            <a:extLst>
              <a:ext uri="{FF2B5EF4-FFF2-40B4-BE49-F238E27FC236}">
                <a16:creationId xmlns:a16="http://schemas.microsoft.com/office/drawing/2014/main" id="{DC43FD24-D855-40FC-85C4-87ED3F64AA2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860695" y="4820889"/>
            <a:ext cx="1183179" cy="492025"/>
          </a:xfrm>
          <a:prstGeom prst="rect">
            <a:avLst/>
          </a:prstGeom>
        </p:spPr>
        <p:txBody>
          <a:bodyPr rtlCol="0" anchor="ctr"/>
          <a:lstStyle>
            <a:lvl1pPr marL="0" indent="0" algn="ctr">
              <a:lnSpc>
                <a:spcPct val="100000"/>
              </a:lnSpc>
              <a:buNone/>
              <a:defRPr sz="1200" b="1" cap="all" spc="200" baseline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rtl="0"/>
            <a:r>
              <a:rPr lang="de-DE" noProof="0"/>
              <a:t>Klicken, um Namen hinzu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C07A013-A59B-4367-9832-ED55A6D252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94508" y="715939"/>
            <a:ext cx="4864608" cy="365760"/>
          </a:xfrm>
        </p:spPr>
        <p:txBody>
          <a:bodyPr rtlCol="0" anchor="t">
            <a:noAutofit/>
          </a:bodyPr>
          <a:lstStyle>
            <a:lvl1pPr>
              <a:defRPr sz="2800">
                <a:ln w="19050">
                  <a:solidFill>
                    <a:schemeClr val="bg1"/>
                  </a:solidFill>
                </a:ln>
              </a:defRPr>
            </a:lvl1pPr>
          </a:lstStyle>
          <a:p>
            <a:pPr rtl="0"/>
            <a:r>
              <a:rPr lang="de-DE" noProof="0"/>
              <a:t>Titel durch Klicken hinzufügen</a:t>
            </a:r>
          </a:p>
        </p:txBody>
      </p:sp>
    </p:spTree>
    <p:extLst>
      <p:ext uri="{BB962C8B-B14F-4D97-AF65-F5344CB8AC3E}">
        <p14:creationId xmlns:p14="http://schemas.microsoft.com/office/powerpoint/2010/main" val="328588519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chstumsstrateg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 5">
            <a:extLst>
              <a:ext uri="{FF2B5EF4-FFF2-40B4-BE49-F238E27FC236}">
                <a16:creationId xmlns:a16="http://schemas.microsoft.com/office/drawing/2014/main" id="{8D1F00DA-5D59-4EDE-BA9C-D312B3FBBAF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4C3578F-2A0F-4E30-AF4A-8F796929EE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r>
              <a:rPr lang="en-US" noProof="0"/>
              <a:t>Q-Hack 25</a:t>
            </a:r>
            <a:endParaRPr lang="de-DE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1F6CA51-E5DC-4FC3-92F6-D5EC783C0A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r>
              <a:rPr lang="de-DE" noProof="0"/>
              <a:t>disQover Pitch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A10E530-F1C5-4166-A95F-3F8D022CCD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A402E4C0-AD5E-4E8C-9F21-7CCE474BDCEB}" type="slidenum">
              <a:rPr lang="de-DE" noProof="0" smtClean="0"/>
              <a:pPr rtl="0"/>
              <a:t>‹#›</a:t>
            </a:fld>
            <a:endParaRPr lang="de-DE" noProof="0"/>
          </a:p>
        </p:txBody>
      </p:sp>
      <p:sp>
        <p:nvSpPr>
          <p:cNvPr id="11" name="Textplatzhalter 14">
            <a:extLst>
              <a:ext uri="{FF2B5EF4-FFF2-40B4-BE49-F238E27FC236}">
                <a16:creationId xmlns:a16="http://schemas.microsoft.com/office/drawing/2014/main" id="{191453D1-9488-4F30-8223-1CB500BDC2F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452699" y="1592681"/>
            <a:ext cx="7306060" cy="393427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 algn="ctr">
              <a:buNone/>
              <a:defRPr sz="1800" cap="none" spc="200" baseline="0">
                <a:solidFill>
                  <a:schemeClr val="bg1"/>
                </a:solidFill>
                <a:latin typeface="Posterama" panose="020B0504020200020000" pitchFamily="34" charset="0"/>
                <a:cs typeface="Posterama" panose="020B0504020200020000" pitchFamily="34" charset="0"/>
              </a:defRPr>
            </a:lvl1pPr>
          </a:lstStyle>
          <a:p>
            <a:pPr lvl="0" rtl="0"/>
            <a:r>
              <a:rPr lang="de-DE" noProof="0"/>
              <a:t>Untertitel hinzufügen</a:t>
            </a:r>
          </a:p>
        </p:txBody>
      </p:sp>
      <p:sp>
        <p:nvSpPr>
          <p:cNvPr id="12" name="Textplatzhalter 14">
            <a:extLst>
              <a:ext uri="{FF2B5EF4-FFF2-40B4-BE49-F238E27FC236}">
                <a16:creationId xmlns:a16="http://schemas.microsoft.com/office/drawing/2014/main" id="{4882AD8A-D4BD-4E12-8458-AC021F93B15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973698" y="3031460"/>
            <a:ext cx="1975104" cy="868680"/>
          </a:xfrm>
          <a:prstGeom prst="rect">
            <a:avLst/>
          </a:prstGeom>
          <a:ln w="25400">
            <a:solidFill>
              <a:schemeClr val="accent6"/>
            </a:solidFill>
          </a:ln>
        </p:spPr>
        <p:txBody>
          <a:bodyPr rtlCol="0" anchor="ctr"/>
          <a:lstStyle>
            <a:lvl1pPr marL="0" indent="0" algn="ctr">
              <a:lnSpc>
                <a:spcPct val="100000"/>
              </a:lnSpc>
              <a:buNone/>
              <a:defRPr sz="1600" b="1" cap="all" spc="200" baseline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rtl="0"/>
            <a:r>
              <a:rPr lang="de-DE" noProof="0"/>
              <a:t>Klicken, um Namen hinzuzufügen</a:t>
            </a:r>
          </a:p>
        </p:txBody>
      </p:sp>
      <p:sp>
        <p:nvSpPr>
          <p:cNvPr id="13" name="Textplatzhalter 14">
            <a:extLst>
              <a:ext uri="{FF2B5EF4-FFF2-40B4-BE49-F238E27FC236}">
                <a16:creationId xmlns:a16="http://schemas.microsoft.com/office/drawing/2014/main" id="{3DF3AAFC-DA9A-4A72-BBF9-5A097BC5950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202976" y="3031460"/>
            <a:ext cx="1975104" cy="868680"/>
          </a:xfrm>
          <a:prstGeom prst="rect">
            <a:avLst/>
          </a:prstGeom>
          <a:ln w="25400">
            <a:solidFill>
              <a:schemeClr val="accent6"/>
            </a:solidFill>
          </a:ln>
        </p:spPr>
        <p:txBody>
          <a:bodyPr rtlCol="0" anchor="ctr"/>
          <a:lstStyle>
            <a:lvl1pPr marL="0" indent="0" algn="ctr">
              <a:lnSpc>
                <a:spcPct val="100000"/>
              </a:lnSpc>
              <a:buNone/>
              <a:defRPr sz="1600" b="1" cap="all" spc="200" baseline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rtl="0"/>
            <a:r>
              <a:rPr lang="de-DE" noProof="0"/>
              <a:t>Klicken, um Namen hinzuzufügen</a:t>
            </a:r>
          </a:p>
        </p:txBody>
      </p:sp>
      <p:sp>
        <p:nvSpPr>
          <p:cNvPr id="14" name="Textplatzhalter 14">
            <a:extLst>
              <a:ext uri="{FF2B5EF4-FFF2-40B4-BE49-F238E27FC236}">
                <a16:creationId xmlns:a16="http://schemas.microsoft.com/office/drawing/2014/main" id="{2FF48EEE-6AEC-4E37-AD5C-EEB74BA0CED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346652" y="3031460"/>
            <a:ext cx="1975104" cy="868680"/>
          </a:xfrm>
          <a:prstGeom prst="rect">
            <a:avLst/>
          </a:prstGeom>
          <a:ln w="25400">
            <a:solidFill>
              <a:schemeClr val="accent6"/>
            </a:solidFill>
          </a:ln>
        </p:spPr>
        <p:txBody>
          <a:bodyPr rtlCol="0" anchor="ctr"/>
          <a:lstStyle>
            <a:lvl1pPr marL="0" indent="0" algn="ctr">
              <a:lnSpc>
                <a:spcPct val="100000"/>
              </a:lnSpc>
              <a:buNone/>
              <a:defRPr sz="1600" b="1" cap="all" spc="200" baseline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rtl="0"/>
            <a:r>
              <a:rPr lang="de-DE" noProof="0"/>
              <a:t>Klicken, um Namen hinzuzufügen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32066EA2-51F1-4F13-8E1B-89600E87907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91695" y="4042386"/>
            <a:ext cx="2743200" cy="1148945"/>
          </a:xfrm>
          <a:prstGeom prst="rect">
            <a:avLst/>
          </a:prstGeom>
        </p:spPr>
        <p:txBody>
          <a:bodyPr rtlCol="0"/>
          <a:lstStyle>
            <a:lvl1pPr marL="0" indent="0" algn="ctr">
              <a:lnSpc>
                <a:spcPct val="125000"/>
              </a:lnSpc>
              <a:spcBef>
                <a:spcPts val="0"/>
              </a:spcBef>
              <a:buNone/>
              <a:defRPr sz="1400" cap="none" spc="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 rtl="0"/>
            <a:r>
              <a:rPr lang="de-DE" noProof="0"/>
              <a:t>Klicken Sie, um Text hinzuzufügen.</a:t>
            </a:r>
          </a:p>
        </p:txBody>
      </p:sp>
      <p:sp>
        <p:nvSpPr>
          <p:cNvPr id="16" name="Textplatzhalter 14">
            <a:extLst>
              <a:ext uri="{FF2B5EF4-FFF2-40B4-BE49-F238E27FC236}">
                <a16:creationId xmlns:a16="http://schemas.microsoft.com/office/drawing/2014/main" id="{F14EBD1B-595C-4A54-92C8-3C5427E15C4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820973" y="4042387"/>
            <a:ext cx="2743200" cy="1148945"/>
          </a:xfrm>
          <a:prstGeom prst="rect">
            <a:avLst/>
          </a:prstGeom>
        </p:spPr>
        <p:txBody>
          <a:bodyPr rtlCol="0"/>
          <a:lstStyle>
            <a:lvl1pPr marL="0" indent="0" algn="ctr">
              <a:lnSpc>
                <a:spcPct val="125000"/>
              </a:lnSpc>
              <a:spcBef>
                <a:spcPts val="0"/>
              </a:spcBef>
              <a:buNone/>
              <a:defRPr sz="1400" cap="none" spc="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 rtl="0"/>
            <a:r>
              <a:rPr lang="de-DE" noProof="0"/>
              <a:t>Klicken Sie, um Text hinzuzufügen.</a:t>
            </a:r>
          </a:p>
        </p:txBody>
      </p:sp>
      <p:sp>
        <p:nvSpPr>
          <p:cNvPr id="17" name="Textplatzhalter 14">
            <a:extLst>
              <a:ext uri="{FF2B5EF4-FFF2-40B4-BE49-F238E27FC236}">
                <a16:creationId xmlns:a16="http://schemas.microsoft.com/office/drawing/2014/main" id="{B64F77B9-03A9-4E3E-B656-D3C0FBE25AB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964649" y="4042386"/>
            <a:ext cx="2743200" cy="1148945"/>
          </a:xfrm>
          <a:prstGeom prst="rect">
            <a:avLst/>
          </a:prstGeom>
        </p:spPr>
        <p:txBody>
          <a:bodyPr rtlCol="0"/>
          <a:lstStyle>
            <a:lvl1pPr marL="0" indent="0" algn="ctr">
              <a:lnSpc>
                <a:spcPct val="125000"/>
              </a:lnSpc>
              <a:spcBef>
                <a:spcPts val="0"/>
              </a:spcBef>
              <a:buNone/>
              <a:defRPr sz="1400" cap="none" spc="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 rtl="0"/>
            <a:r>
              <a:rPr lang="de-DE" noProof="0"/>
              <a:t>Klicken Sie, um Text hinzuzufügen.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FFECFB3-5650-476F-BB54-8A2A45F8AE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51534" y="989042"/>
            <a:ext cx="7287768" cy="630936"/>
          </a:xfrm>
        </p:spPr>
        <p:txBody>
          <a:bodyPr rtlCol="0" anchor="t">
            <a:noAutofit/>
          </a:bodyPr>
          <a:lstStyle>
            <a:lvl1pPr algn="ctr">
              <a:lnSpc>
                <a:spcPct val="125000"/>
              </a:lnSpc>
              <a:defRPr sz="2800">
                <a:ln w="19050">
                  <a:solidFill>
                    <a:schemeClr val="bg1"/>
                  </a:solidFill>
                </a:ln>
              </a:defRPr>
            </a:lvl1pPr>
          </a:lstStyle>
          <a:p>
            <a:pPr rtl="0"/>
            <a:r>
              <a:rPr lang="de-DE" noProof="0"/>
              <a:t>Titel durch Klicken hinzufügen</a:t>
            </a:r>
          </a:p>
        </p:txBody>
      </p:sp>
    </p:spTree>
    <p:extLst>
      <p:ext uri="{BB962C8B-B14F-4D97-AF65-F5344CB8AC3E}">
        <p14:creationId xmlns:p14="http://schemas.microsoft.com/office/powerpoint/2010/main" val="252198536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achstumsstrateg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CD8F170F-AE26-18EA-F4C4-8C9C371EEE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7694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6" imgH="486" progId="TCLayout.ActiveDocument.1">
                  <p:embed/>
                </p:oleObj>
              </mc:Choice>
              <mc:Fallback>
                <p:oleObj name="think-cell Slide" r:id="rId3" imgW="486" imgH="48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D8F170F-AE26-18EA-F4C4-8C9C371EEE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Bild 5">
            <a:extLst>
              <a:ext uri="{FF2B5EF4-FFF2-40B4-BE49-F238E27FC236}">
                <a16:creationId xmlns:a16="http://schemas.microsoft.com/office/drawing/2014/main" id="{8D1F00DA-5D59-4EDE-BA9C-D312B3FBBAFD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4C3578F-2A0F-4E30-AF4A-8F796929EE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r>
              <a:rPr lang="en-US" noProof="0"/>
              <a:t>Q-Hack 25</a:t>
            </a:r>
            <a:endParaRPr lang="de-DE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1F6CA51-E5DC-4FC3-92F6-D5EC783C0A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r>
              <a:rPr lang="de-DE" noProof="0"/>
              <a:t>disQover Pitch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A10E530-F1C5-4166-A95F-3F8D022CCD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A402E4C0-AD5E-4E8C-9F21-7CCE474BDCEB}" type="slidenum">
              <a:rPr lang="de-DE" noProof="0" smtClean="0"/>
              <a:pPr rtl="0"/>
              <a:t>‹#›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366704293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k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 1">
            <a:extLst>
              <a:ext uri="{FF2B5EF4-FFF2-40B4-BE49-F238E27FC236}">
                <a16:creationId xmlns:a16="http://schemas.microsoft.com/office/drawing/2014/main" id="{B3D91600-3E99-42F4-85C2-60F442CD5E7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22" name="Inhaltsplatzhalter 8">
            <a:extLst>
              <a:ext uri="{FF2B5EF4-FFF2-40B4-BE49-F238E27FC236}">
                <a16:creationId xmlns:a16="http://schemas.microsoft.com/office/drawing/2014/main" id="{30B4BBA3-2E4B-4AF2-8A2B-92DD019631E8}"/>
              </a:ext>
            </a:extLst>
          </p:cNvPr>
          <p:cNvSpPr>
            <a:spLocks noGrp="1"/>
          </p:cNvSpPr>
          <p:nvPr>
            <p:ph sz="quarter" idx="39" hasCustomPrompt="1"/>
          </p:nvPr>
        </p:nvSpPr>
        <p:spPr>
          <a:xfrm>
            <a:off x="6266428" y="2782888"/>
            <a:ext cx="4992567" cy="3436937"/>
          </a:xfrm>
        </p:spPr>
        <p:txBody>
          <a:bodyPr rtlCol="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 rtl="0"/>
            <a:r>
              <a:rPr lang="de-DE" noProof="0"/>
              <a:t>Textmasterformat durch Klicken bearbeiten</a:t>
            </a:r>
          </a:p>
          <a:p>
            <a:pPr lvl="1" rtl="0"/>
            <a:r>
              <a:rPr lang="de-DE" noProof="0"/>
              <a:t>Zweite Ebene</a:t>
            </a:r>
          </a:p>
          <a:p>
            <a:pPr lvl="2" rtl="0"/>
            <a:r>
              <a:rPr lang="de-DE" noProof="0"/>
              <a:t>Dritte Ebene</a:t>
            </a:r>
          </a:p>
          <a:p>
            <a:pPr lvl="3" rtl="0"/>
            <a:r>
              <a:rPr lang="de-DE" noProof="0"/>
              <a:t>Vierte Ebene</a:t>
            </a:r>
          </a:p>
          <a:p>
            <a:pPr lvl="4" rtl="0"/>
            <a:r>
              <a:rPr lang="de-DE" noProof="0"/>
              <a:t>Fünfte Ebene</a:t>
            </a:r>
          </a:p>
        </p:txBody>
      </p:sp>
      <p:sp>
        <p:nvSpPr>
          <p:cNvPr id="8" name="Textplatzhalter 14">
            <a:extLst>
              <a:ext uri="{FF2B5EF4-FFF2-40B4-BE49-F238E27FC236}">
                <a16:creationId xmlns:a16="http://schemas.microsoft.com/office/drawing/2014/main" id="{44460CAC-F6F8-43F8-93F5-188B790DEE6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452699" y="1592681"/>
            <a:ext cx="7306060" cy="393427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 algn="ctr">
              <a:buNone/>
              <a:defRPr sz="1800" cap="none" spc="200" baseline="0">
                <a:solidFill>
                  <a:schemeClr val="bg1"/>
                </a:solidFill>
                <a:latin typeface="Posterama" panose="020B0504020200020000" pitchFamily="34" charset="0"/>
                <a:cs typeface="Posterama" panose="020B0504020200020000" pitchFamily="34" charset="0"/>
              </a:defRPr>
            </a:lvl1pPr>
          </a:lstStyle>
          <a:p>
            <a:pPr lvl="0" rtl="0"/>
            <a:r>
              <a:rPr lang="de-DE" noProof="0"/>
              <a:t>Untertitel hinzufüg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968D310-58F4-4A10-A286-9B42AECFDD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r>
              <a:rPr lang="en-US" noProof="0"/>
              <a:t>Q-Hack 25</a:t>
            </a:r>
            <a:endParaRPr lang="de-DE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C868E10-EEA7-4017-B7CA-17B5EB23C4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r>
              <a:rPr lang="de-DE" noProof="0"/>
              <a:t>disQover Pitch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2B014CA-8BED-467C-AC80-6DC5B3DDC4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A402E4C0-AD5E-4E8C-9F21-7CCE474BDCEB}" type="slidenum">
              <a:rPr lang="de-DE" noProof="0" smtClean="0"/>
              <a:pPr rtl="0"/>
              <a:t>‹#›</a:t>
            </a:fld>
            <a:endParaRPr lang="de-DE" noProof="0"/>
          </a:p>
        </p:txBody>
      </p:sp>
      <p:sp>
        <p:nvSpPr>
          <p:cNvPr id="78" name="Textplatzhalter 14">
            <a:extLst>
              <a:ext uri="{FF2B5EF4-FFF2-40B4-BE49-F238E27FC236}">
                <a16:creationId xmlns:a16="http://schemas.microsoft.com/office/drawing/2014/main" id="{2C4E099A-EEE4-40B4-B9B5-32A5A981F951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05410" y="2333977"/>
            <a:ext cx="5007023" cy="448769"/>
          </a:xfrm>
          <a:prstGeom prst="rect">
            <a:avLst/>
          </a:prstGeom>
        </p:spPr>
        <p:txBody>
          <a:bodyPr rtlCol="0"/>
          <a:lstStyle>
            <a:lvl1pPr marL="0" indent="0" algn="ctr">
              <a:buNone/>
              <a:defRPr sz="1600" b="1" cap="all" spc="200" baseline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rtl="0"/>
            <a:r>
              <a:rPr lang="de-DE" noProof="0"/>
              <a:t>Titel durch Klicken hinzufügen</a:t>
            </a:r>
          </a:p>
        </p:txBody>
      </p:sp>
      <p:sp>
        <p:nvSpPr>
          <p:cNvPr id="79" name="Textplatzhalter 14">
            <a:extLst>
              <a:ext uri="{FF2B5EF4-FFF2-40B4-BE49-F238E27FC236}">
                <a16:creationId xmlns:a16="http://schemas.microsoft.com/office/drawing/2014/main" id="{51338F1A-6EF2-4AA5-9EE8-628C9D57C27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279569" y="2339781"/>
            <a:ext cx="4993148" cy="448769"/>
          </a:xfrm>
          <a:prstGeom prst="rect">
            <a:avLst/>
          </a:prstGeom>
        </p:spPr>
        <p:txBody>
          <a:bodyPr rtlCol="0"/>
          <a:lstStyle>
            <a:lvl1pPr marL="0" indent="0" algn="ctr">
              <a:buNone/>
              <a:defRPr sz="1600" b="1" cap="all" spc="200" baseline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rtl="0"/>
            <a:r>
              <a:rPr lang="de-DE" noProof="0"/>
              <a:t>Titel durch Klicken hinzufügen</a:t>
            </a:r>
          </a:p>
        </p:txBody>
      </p:sp>
      <p:sp>
        <p:nvSpPr>
          <p:cNvPr id="19" name="Titel 1">
            <a:extLst>
              <a:ext uri="{FF2B5EF4-FFF2-40B4-BE49-F238E27FC236}">
                <a16:creationId xmlns:a16="http://schemas.microsoft.com/office/drawing/2014/main" id="{DF744EAD-73E9-49F3-9CA4-9A344EB625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51534" y="989042"/>
            <a:ext cx="7287768" cy="630936"/>
          </a:xfrm>
        </p:spPr>
        <p:txBody>
          <a:bodyPr rtlCol="0" anchor="t">
            <a:noAutofit/>
          </a:bodyPr>
          <a:lstStyle>
            <a:lvl1pPr algn="ctr">
              <a:lnSpc>
                <a:spcPct val="125000"/>
              </a:lnSpc>
              <a:defRPr sz="2800">
                <a:ln w="19050">
                  <a:solidFill>
                    <a:schemeClr val="bg1"/>
                  </a:solidFill>
                </a:ln>
              </a:defRPr>
            </a:lvl1pPr>
          </a:lstStyle>
          <a:p>
            <a:pPr rtl="0"/>
            <a:r>
              <a:rPr lang="de-DE" noProof="0"/>
              <a:t>Titel durch Klicken hinzufügen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ACB4710E-545B-4940-B69A-359188335AD3}"/>
              </a:ext>
            </a:extLst>
          </p:cNvPr>
          <p:cNvSpPr>
            <a:spLocks noGrp="1"/>
          </p:cNvSpPr>
          <p:nvPr>
            <p:ph sz="quarter" idx="38" hasCustomPrompt="1"/>
          </p:nvPr>
        </p:nvSpPr>
        <p:spPr>
          <a:xfrm>
            <a:off x="919283" y="2782888"/>
            <a:ext cx="4992567" cy="3436937"/>
          </a:xfrm>
        </p:spPr>
        <p:txBody>
          <a:bodyPr rtlCol="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 rtl="0"/>
            <a:r>
              <a:rPr lang="de-DE" noProof="0"/>
              <a:t>Textmasterformat durch Klicken bearbeiten</a:t>
            </a:r>
          </a:p>
          <a:p>
            <a:pPr lvl="1" rtl="0"/>
            <a:r>
              <a:rPr lang="de-DE" noProof="0"/>
              <a:t>Zweite Ebene</a:t>
            </a:r>
          </a:p>
          <a:p>
            <a:pPr lvl="2" rtl="0"/>
            <a:r>
              <a:rPr lang="de-DE" noProof="0"/>
              <a:t>Dritte Ebene</a:t>
            </a:r>
          </a:p>
          <a:p>
            <a:pPr lvl="3" rtl="0"/>
            <a:r>
              <a:rPr lang="de-DE" noProof="0"/>
              <a:t>Vierte Ebene</a:t>
            </a:r>
          </a:p>
          <a:p>
            <a:pPr lvl="4" rtl="0"/>
            <a:r>
              <a:rPr lang="de-DE" noProof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15027024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Jahres-Aktionspl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 1">
            <a:extLst>
              <a:ext uri="{FF2B5EF4-FFF2-40B4-BE49-F238E27FC236}">
                <a16:creationId xmlns:a16="http://schemas.microsoft.com/office/drawing/2014/main" id="{79533791-52F7-40F6-B230-7BF6C505CCD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E68A0C5-BEED-4BC5-ACD5-3F28EDE19E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r>
              <a:rPr lang="en-US" noProof="0"/>
              <a:t>Q-Hack 25</a:t>
            </a:r>
            <a:endParaRPr lang="de-DE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35EA781-4C22-4390-A03C-CA5DCCB7A2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r>
              <a:rPr lang="de-DE" noProof="0"/>
              <a:t>disQover Pitch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FE694A4-07AC-48C4-A560-162C1F4ECD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A402E4C0-AD5E-4E8C-9F21-7CCE474BDCEB}" type="slidenum">
              <a:rPr lang="de-DE" noProof="0" smtClean="0"/>
              <a:pPr rtl="0"/>
              <a:t>‹#›</a:t>
            </a:fld>
            <a:endParaRPr lang="de-DE" noProof="0"/>
          </a:p>
        </p:txBody>
      </p:sp>
      <p:sp>
        <p:nvSpPr>
          <p:cNvPr id="16" name="Textplatzhalter 14">
            <a:extLst>
              <a:ext uri="{FF2B5EF4-FFF2-40B4-BE49-F238E27FC236}">
                <a16:creationId xmlns:a16="http://schemas.microsoft.com/office/drawing/2014/main" id="{2A6B27A0-0449-46AE-A770-EBB281A1A95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712346" y="3170170"/>
            <a:ext cx="495300" cy="652276"/>
          </a:xfrm>
          <a:prstGeom prst="rect">
            <a:avLst/>
          </a:prstGeom>
        </p:spPr>
        <p:txBody>
          <a:bodyPr rtlCol="0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200" cap="none" spc="10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 rtl="0"/>
            <a:r>
              <a:rPr lang="de-DE" noProof="0"/>
              <a:t>Klicken Sie, um Text hinzuzufügen.</a:t>
            </a:r>
          </a:p>
        </p:txBody>
      </p:sp>
      <p:sp>
        <p:nvSpPr>
          <p:cNvPr id="17" name="Textplatzhalter 14">
            <a:extLst>
              <a:ext uri="{FF2B5EF4-FFF2-40B4-BE49-F238E27FC236}">
                <a16:creationId xmlns:a16="http://schemas.microsoft.com/office/drawing/2014/main" id="{1E70DE9B-2CDE-44B6-9307-FC12D873CA4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501761" y="3170170"/>
            <a:ext cx="495300" cy="652276"/>
          </a:xfrm>
          <a:prstGeom prst="rect">
            <a:avLst/>
          </a:prstGeom>
        </p:spPr>
        <p:txBody>
          <a:bodyPr rtlCol="0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200" cap="none" spc="10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 rtl="0"/>
            <a:r>
              <a:rPr lang="de-DE" noProof="0"/>
              <a:t>Klicken Sie, um Text hinzuzufügen.</a:t>
            </a:r>
          </a:p>
        </p:txBody>
      </p:sp>
      <p:sp>
        <p:nvSpPr>
          <p:cNvPr id="18" name="Textplatzhalter 14">
            <a:extLst>
              <a:ext uri="{FF2B5EF4-FFF2-40B4-BE49-F238E27FC236}">
                <a16:creationId xmlns:a16="http://schemas.microsoft.com/office/drawing/2014/main" id="{123B5183-98F9-43BF-BE37-2AE0A049EA8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91176" y="3170170"/>
            <a:ext cx="495300" cy="652276"/>
          </a:xfrm>
          <a:prstGeom prst="rect">
            <a:avLst/>
          </a:prstGeom>
        </p:spPr>
        <p:txBody>
          <a:bodyPr rtlCol="0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200" cap="none" spc="10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 rtl="0"/>
            <a:r>
              <a:rPr lang="de-DE" noProof="0"/>
              <a:t>Klicken Sie, um Text hinzuzufügen.</a:t>
            </a:r>
          </a:p>
        </p:txBody>
      </p:sp>
      <p:sp>
        <p:nvSpPr>
          <p:cNvPr id="19" name="Textplatzhalter 14">
            <a:extLst>
              <a:ext uri="{FF2B5EF4-FFF2-40B4-BE49-F238E27FC236}">
                <a16:creationId xmlns:a16="http://schemas.microsoft.com/office/drawing/2014/main" id="{49DAB7F1-F6E7-4F92-B252-D9B81196A3A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80591" y="3170170"/>
            <a:ext cx="495300" cy="652276"/>
          </a:xfrm>
          <a:prstGeom prst="rect">
            <a:avLst/>
          </a:prstGeom>
        </p:spPr>
        <p:txBody>
          <a:bodyPr rtlCol="0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200" cap="none" spc="10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 rtl="0"/>
            <a:r>
              <a:rPr lang="de-DE" noProof="0"/>
              <a:t>Klicken Sie, um Text hinzuzufügen.</a:t>
            </a:r>
          </a:p>
        </p:txBody>
      </p:sp>
      <p:sp>
        <p:nvSpPr>
          <p:cNvPr id="20" name="Textplatzhalter 14">
            <a:extLst>
              <a:ext uri="{FF2B5EF4-FFF2-40B4-BE49-F238E27FC236}">
                <a16:creationId xmlns:a16="http://schemas.microsoft.com/office/drawing/2014/main" id="{4037F0E4-C57B-4033-B973-C69A03D9702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810807" y="3170170"/>
            <a:ext cx="615310" cy="652276"/>
          </a:xfrm>
          <a:prstGeom prst="rect">
            <a:avLst/>
          </a:prstGeom>
        </p:spPr>
        <p:txBody>
          <a:bodyPr rtlCol="0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200" cap="none" spc="10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 rtl="0"/>
            <a:r>
              <a:rPr lang="de-DE" noProof="0"/>
              <a:t>Klicken Sie, um Text hinzuzufügen.</a:t>
            </a:r>
          </a:p>
        </p:txBody>
      </p:sp>
      <p:sp>
        <p:nvSpPr>
          <p:cNvPr id="21" name="Textplatzhalter 14">
            <a:extLst>
              <a:ext uri="{FF2B5EF4-FFF2-40B4-BE49-F238E27FC236}">
                <a16:creationId xmlns:a16="http://schemas.microsoft.com/office/drawing/2014/main" id="{85DAD742-736F-42D3-99FC-6046CF57A7A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659421" y="3170170"/>
            <a:ext cx="495300" cy="652276"/>
          </a:xfrm>
          <a:prstGeom prst="rect">
            <a:avLst/>
          </a:prstGeom>
        </p:spPr>
        <p:txBody>
          <a:bodyPr rtlCol="0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200" cap="none" spc="10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 rtl="0"/>
            <a:r>
              <a:rPr lang="de-DE" noProof="0"/>
              <a:t>Klicken Sie, um Text hinzuzufügen.</a:t>
            </a:r>
          </a:p>
        </p:txBody>
      </p:sp>
      <p:sp>
        <p:nvSpPr>
          <p:cNvPr id="22" name="Textplatzhalter 14">
            <a:extLst>
              <a:ext uri="{FF2B5EF4-FFF2-40B4-BE49-F238E27FC236}">
                <a16:creationId xmlns:a16="http://schemas.microsoft.com/office/drawing/2014/main" id="{53EC6732-F61D-431C-88C9-BAA5039B6BB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448836" y="3170170"/>
            <a:ext cx="495300" cy="652276"/>
          </a:xfrm>
          <a:prstGeom prst="rect">
            <a:avLst/>
          </a:prstGeom>
        </p:spPr>
        <p:txBody>
          <a:bodyPr rtlCol="0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200" cap="none" spc="10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 rtl="0"/>
            <a:r>
              <a:rPr lang="de-DE" noProof="0"/>
              <a:t>Klicken Sie, um Text hinzuzufügen.</a:t>
            </a:r>
          </a:p>
        </p:txBody>
      </p:sp>
      <p:sp>
        <p:nvSpPr>
          <p:cNvPr id="23" name="Textplatzhalter 14">
            <a:extLst>
              <a:ext uri="{FF2B5EF4-FFF2-40B4-BE49-F238E27FC236}">
                <a16:creationId xmlns:a16="http://schemas.microsoft.com/office/drawing/2014/main" id="{B8218F9A-C149-4D30-8437-B9D8C0DAF1D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238251" y="3170170"/>
            <a:ext cx="495300" cy="652276"/>
          </a:xfrm>
          <a:prstGeom prst="rect">
            <a:avLst/>
          </a:prstGeom>
        </p:spPr>
        <p:txBody>
          <a:bodyPr rtlCol="0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200" cap="none" spc="10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 rtl="0"/>
            <a:r>
              <a:rPr lang="de-DE" noProof="0"/>
              <a:t>Klicken Sie, um Text hinzuzufügen.</a:t>
            </a:r>
          </a:p>
        </p:txBody>
      </p:sp>
      <p:sp>
        <p:nvSpPr>
          <p:cNvPr id="24" name="Textplatzhalter 14">
            <a:extLst>
              <a:ext uri="{FF2B5EF4-FFF2-40B4-BE49-F238E27FC236}">
                <a16:creationId xmlns:a16="http://schemas.microsoft.com/office/drawing/2014/main" id="{BCA166BB-F293-4289-B0EB-57580EC9608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027666" y="3170170"/>
            <a:ext cx="495300" cy="652276"/>
          </a:xfrm>
          <a:prstGeom prst="rect">
            <a:avLst/>
          </a:prstGeom>
        </p:spPr>
        <p:txBody>
          <a:bodyPr rtlCol="0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200" cap="none" spc="10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 rtl="0"/>
            <a:r>
              <a:rPr lang="de-DE" noProof="0"/>
              <a:t>Klicken Sie, um Text hinzuzufügen.</a:t>
            </a:r>
          </a:p>
        </p:txBody>
      </p:sp>
      <p:sp>
        <p:nvSpPr>
          <p:cNvPr id="25" name="Textplatzhalter 14">
            <a:extLst>
              <a:ext uri="{FF2B5EF4-FFF2-40B4-BE49-F238E27FC236}">
                <a16:creationId xmlns:a16="http://schemas.microsoft.com/office/drawing/2014/main" id="{77397369-CCB5-450E-8FD1-46B3B54F6B8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817081" y="3170170"/>
            <a:ext cx="495300" cy="652276"/>
          </a:xfrm>
          <a:prstGeom prst="rect">
            <a:avLst/>
          </a:prstGeom>
        </p:spPr>
        <p:txBody>
          <a:bodyPr rtlCol="0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200" cap="none" spc="10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 rtl="0"/>
            <a:r>
              <a:rPr lang="de-DE" noProof="0"/>
              <a:t>Klicken Sie, um Text hinzuzufügen.</a:t>
            </a:r>
          </a:p>
        </p:txBody>
      </p:sp>
      <p:sp>
        <p:nvSpPr>
          <p:cNvPr id="26" name="Textplatzhalter 14">
            <a:extLst>
              <a:ext uri="{FF2B5EF4-FFF2-40B4-BE49-F238E27FC236}">
                <a16:creationId xmlns:a16="http://schemas.microsoft.com/office/drawing/2014/main" id="{78252082-BCF2-4955-B695-35F48EF76FD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606496" y="3170170"/>
            <a:ext cx="495300" cy="652276"/>
          </a:xfrm>
          <a:prstGeom prst="rect">
            <a:avLst/>
          </a:prstGeom>
        </p:spPr>
        <p:txBody>
          <a:bodyPr rtlCol="0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200" cap="none" spc="10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 rtl="0"/>
            <a:r>
              <a:rPr lang="de-DE" noProof="0"/>
              <a:t>Klicken Sie, um Text hinzuzufügen.</a:t>
            </a:r>
          </a:p>
        </p:txBody>
      </p:sp>
      <p:sp>
        <p:nvSpPr>
          <p:cNvPr id="27" name="Textplatzhalter 14">
            <a:extLst>
              <a:ext uri="{FF2B5EF4-FFF2-40B4-BE49-F238E27FC236}">
                <a16:creationId xmlns:a16="http://schemas.microsoft.com/office/drawing/2014/main" id="{AF998D11-3FAA-4712-8C34-404C1BDCECB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395907" y="3170170"/>
            <a:ext cx="495300" cy="652276"/>
          </a:xfrm>
          <a:prstGeom prst="rect">
            <a:avLst/>
          </a:prstGeom>
        </p:spPr>
        <p:txBody>
          <a:bodyPr rtlCol="0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200" cap="none" spc="10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 rtl="0"/>
            <a:r>
              <a:rPr lang="de-DE" noProof="0"/>
              <a:t>Klicken Sie, um Text hinzuzufügen.</a:t>
            </a:r>
          </a:p>
        </p:txBody>
      </p:sp>
      <p:sp>
        <p:nvSpPr>
          <p:cNvPr id="28" name="Textplatzhalter 14">
            <a:extLst>
              <a:ext uri="{FF2B5EF4-FFF2-40B4-BE49-F238E27FC236}">
                <a16:creationId xmlns:a16="http://schemas.microsoft.com/office/drawing/2014/main" id="{2AA33C54-3898-452E-979F-F1B5853E737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712346" y="4871997"/>
            <a:ext cx="495300" cy="652272"/>
          </a:xfrm>
          <a:prstGeom prst="rect">
            <a:avLst/>
          </a:prstGeom>
        </p:spPr>
        <p:txBody>
          <a:bodyPr rtlCol="0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200" cap="none" spc="10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 rtl="0"/>
            <a:r>
              <a:rPr lang="de-DE" noProof="0"/>
              <a:t>Klicken Sie, um Text hinzuzufügen.</a:t>
            </a:r>
          </a:p>
        </p:txBody>
      </p:sp>
      <p:sp>
        <p:nvSpPr>
          <p:cNvPr id="29" name="Textplatzhalter 14">
            <a:extLst>
              <a:ext uri="{FF2B5EF4-FFF2-40B4-BE49-F238E27FC236}">
                <a16:creationId xmlns:a16="http://schemas.microsoft.com/office/drawing/2014/main" id="{0569AA0A-65D1-4456-9A14-327E6CE6DF6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501761" y="4871997"/>
            <a:ext cx="495300" cy="652272"/>
          </a:xfrm>
          <a:prstGeom prst="rect">
            <a:avLst/>
          </a:prstGeom>
        </p:spPr>
        <p:txBody>
          <a:bodyPr rtlCol="0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200" cap="none" spc="10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 rtl="0"/>
            <a:r>
              <a:rPr lang="de-DE" noProof="0"/>
              <a:t>Klicken Sie, um Text hinzuzufügen.</a:t>
            </a:r>
          </a:p>
        </p:txBody>
      </p:sp>
      <p:sp>
        <p:nvSpPr>
          <p:cNvPr id="30" name="Textplatzhalter 14">
            <a:extLst>
              <a:ext uri="{FF2B5EF4-FFF2-40B4-BE49-F238E27FC236}">
                <a16:creationId xmlns:a16="http://schemas.microsoft.com/office/drawing/2014/main" id="{028EB91C-9303-4EB3-886A-E5DA884A80F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291176" y="4871997"/>
            <a:ext cx="495300" cy="652272"/>
          </a:xfrm>
          <a:prstGeom prst="rect">
            <a:avLst/>
          </a:prstGeom>
        </p:spPr>
        <p:txBody>
          <a:bodyPr rtlCol="0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200" cap="none" spc="10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 rtl="0"/>
            <a:r>
              <a:rPr lang="de-DE" noProof="0"/>
              <a:t>Klicken Sie, um Text hinzuzufügen.</a:t>
            </a:r>
          </a:p>
        </p:txBody>
      </p:sp>
      <p:sp>
        <p:nvSpPr>
          <p:cNvPr id="31" name="Textplatzhalter 14">
            <a:extLst>
              <a:ext uri="{FF2B5EF4-FFF2-40B4-BE49-F238E27FC236}">
                <a16:creationId xmlns:a16="http://schemas.microsoft.com/office/drawing/2014/main" id="{4A47908B-3F69-4786-9C40-C12392133F0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080591" y="4871997"/>
            <a:ext cx="495300" cy="652272"/>
          </a:xfrm>
          <a:prstGeom prst="rect">
            <a:avLst/>
          </a:prstGeom>
        </p:spPr>
        <p:txBody>
          <a:bodyPr rtlCol="0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200" cap="none" spc="10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 rtl="0"/>
            <a:r>
              <a:rPr lang="de-DE" noProof="0"/>
              <a:t>Klicken Sie, um Text hinzuzufügen.</a:t>
            </a:r>
          </a:p>
        </p:txBody>
      </p:sp>
      <p:sp>
        <p:nvSpPr>
          <p:cNvPr id="32" name="Textplatzhalter 14">
            <a:extLst>
              <a:ext uri="{FF2B5EF4-FFF2-40B4-BE49-F238E27FC236}">
                <a16:creationId xmlns:a16="http://schemas.microsoft.com/office/drawing/2014/main" id="{378EEBEC-FDBD-4D14-ADCA-4C72B269E99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810807" y="4871997"/>
            <a:ext cx="615310" cy="652272"/>
          </a:xfrm>
          <a:prstGeom prst="rect">
            <a:avLst/>
          </a:prstGeom>
        </p:spPr>
        <p:txBody>
          <a:bodyPr rtlCol="0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200" cap="none" spc="10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 rtl="0"/>
            <a:r>
              <a:rPr lang="de-DE" noProof="0"/>
              <a:t>Klicken Sie, um Text hinzuzufügen.</a:t>
            </a:r>
          </a:p>
        </p:txBody>
      </p:sp>
      <p:sp>
        <p:nvSpPr>
          <p:cNvPr id="33" name="Textplatzhalter 14">
            <a:extLst>
              <a:ext uri="{FF2B5EF4-FFF2-40B4-BE49-F238E27FC236}">
                <a16:creationId xmlns:a16="http://schemas.microsoft.com/office/drawing/2014/main" id="{044989A5-8040-43C0-BE05-6A79C3BE637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659421" y="4871997"/>
            <a:ext cx="495300" cy="652272"/>
          </a:xfrm>
          <a:prstGeom prst="rect">
            <a:avLst/>
          </a:prstGeom>
        </p:spPr>
        <p:txBody>
          <a:bodyPr rtlCol="0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200" cap="none" spc="10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 rtl="0"/>
            <a:r>
              <a:rPr lang="de-DE" noProof="0"/>
              <a:t>Klicken Sie, um Text hinzuzufügen.</a:t>
            </a:r>
          </a:p>
        </p:txBody>
      </p:sp>
      <p:sp>
        <p:nvSpPr>
          <p:cNvPr id="34" name="Textplatzhalter 14">
            <a:extLst>
              <a:ext uri="{FF2B5EF4-FFF2-40B4-BE49-F238E27FC236}">
                <a16:creationId xmlns:a16="http://schemas.microsoft.com/office/drawing/2014/main" id="{52581A3A-F479-4780-81BE-CCBCF398141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448836" y="4871997"/>
            <a:ext cx="495300" cy="652272"/>
          </a:xfrm>
          <a:prstGeom prst="rect">
            <a:avLst/>
          </a:prstGeom>
        </p:spPr>
        <p:txBody>
          <a:bodyPr rtlCol="0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200" cap="none" spc="10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 rtl="0"/>
            <a:r>
              <a:rPr lang="de-DE" noProof="0"/>
              <a:t>Klicken Sie, um Text hinzuzufügen.</a:t>
            </a:r>
          </a:p>
        </p:txBody>
      </p:sp>
      <p:sp>
        <p:nvSpPr>
          <p:cNvPr id="35" name="Textplatzhalter 14">
            <a:extLst>
              <a:ext uri="{FF2B5EF4-FFF2-40B4-BE49-F238E27FC236}">
                <a16:creationId xmlns:a16="http://schemas.microsoft.com/office/drawing/2014/main" id="{3D361DBA-153A-4846-BDA4-CC63FF94744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238251" y="4871997"/>
            <a:ext cx="495300" cy="652272"/>
          </a:xfrm>
          <a:prstGeom prst="rect">
            <a:avLst/>
          </a:prstGeom>
        </p:spPr>
        <p:txBody>
          <a:bodyPr rtlCol="0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200" cap="none" spc="10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 rtl="0"/>
            <a:r>
              <a:rPr lang="de-DE" noProof="0"/>
              <a:t>Klicken Sie, um Text hinzuzufügen.</a:t>
            </a:r>
          </a:p>
        </p:txBody>
      </p:sp>
      <p:sp>
        <p:nvSpPr>
          <p:cNvPr id="36" name="Textplatzhalter 14">
            <a:extLst>
              <a:ext uri="{FF2B5EF4-FFF2-40B4-BE49-F238E27FC236}">
                <a16:creationId xmlns:a16="http://schemas.microsoft.com/office/drawing/2014/main" id="{78FB324E-EE00-4CC5-9F81-5EF71F30503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027666" y="4871997"/>
            <a:ext cx="495300" cy="652272"/>
          </a:xfrm>
          <a:prstGeom prst="rect">
            <a:avLst/>
          </a:prstGeom>
        </p:spPr>
        <p:txBody>
          <a:bodyPr rtlCol="0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200" cap="none" spc="10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 rtl="0"/>
            <a:r>
              <a:rPr lang="de-DE" noProof="0"/>
              <a:t>Klicken Sie, um Text hinzuzufügen.</a:t>
            </a:r>
          </a:p>
        </p:txBody>
      </p:sp>
      <p:sp>
        <p:nvSpPr>
          <p:cNvPr id="37" name="Textplatzhalter 14">
            <a:extLst>
              <a:ext uri="{FF2B5EF4-FFF2-40B4-BE49-F238E27FC236}">
                <a16:creationId xmlns:a16="http://schemas.microsoft.com/office/drawing/2014/main" id="{78AA454F-F92D-4844-92A6-A3FEDD88B302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817081" y="4871997"/>
            <a:ext cx="495300" cy="652272"/>
          </a:xfrm>
          <a:prstGeom prst="rect">
            <a:avLst/>
          </a:prstGeom>
        </p:spPr>
        <p:txBody>
          <a:bodyPr rtlCol="0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200" cap="none" spc="10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 rtl="0"/>
            <a:r>
              <a:rPr lang="de-DE" noProof="0"/>
              <a:t>Klicken Sie, um Text hinzuzufügen.</a:t>
            </a:r>
          </a:p>
        </p:txBody>
      </p:sp>
      <p:sp>
        <p:nvSpPr>
          <p:cNvPr id="38" name="Textplatzhalter 14">
            <a:extLst>
              <a:ext uri="{FF2B5EF4-FFF2-40B4-BE49-F238E27FC236}">
                <a16:creationId xmlns:a16="http://schemas.microsoft.com/office/drawing/2014/main" id="{651BCA7B-5BF4-4A0F-95C1-2014315E80B1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606496" y="4871997"/>
            <a:ext cx="495300" cy="652272"/>
          </a:xfrm>
          <a:prstGeom prst="rect">
            <a:avLst/>
          </a:prstGeom>
        </p:spPr>
        <p:txBody>
          <a:bodyPr rtlCol="0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200" cap="none" spc="10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 rtl="0"/>
            <a:r>
              <a:rPr lang="de-DE" noProof="0"/>
              <a:t>Klicken Sie, um Text hinzuzufügen.</a:t>
            </a:r>
          </a:p>
        </p:txBody>
      </p:sp>
      <p:sp>
        <p:nvSpPr>
          <p:cNvPr id="39" name="Textplatzhalter 14">
            <a:extLst>
              <a:ext uri="{FF2B5EF4-FFF2-40B4-BE49-F238E27FC236}">
                <a16:creationId xmlns:a16="http://schemas.microsoft.com/office/drawing/2014/main" id="{7E3F41F1-0E06-45ED-894F-7F38510C272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0395907" y="4871997"/>
            <a:ext cx="495300" cy="652272"/>
          </a:xfrm>
          <a:prstGeom prst="rect">
            <a:avLst/>
          </a:prstGeom>
        </p:spPr>
        <p:txBody>
          <a:bodyPr rtlCol="0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200" cap="none" spc="10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 rtl="0"/>
            <a:r>
              <a:rPr lang="de-DE" noProof="0"/>
              <a:t>Klicken Sie, um Text hinzuzufügen.</a:t>
            </a:r>
          </a:p>
        </p:txBody>
      </p:sp>
      <p:sp>
        <p:nvSpPr>
          <p:cNvPr id="52" name="Textplatzhalter 14">
            <a:extLst>
              <a:ext uri="{FF2B5EF4-FFF2-40B4-BE49-F238E27FC236}">
                <a16:creationId xmlns:a16="http://schemas.microsoft.com/office/drawing/2014/main" id="{C02572F8-1812-49D5-B24A-088659DE9FC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53772" y="2763180"/>
            <a:ext cx="1021001" cy="501726"/>
          </a:xfrm>
          <a:prstGeom prst="rect">
            <a:avLst/>
          </a:prstGeom>
        </p:spPr>
        <p:txBody>
          <a:bodyPr rtlCol="0" anchor="ctr">
            <a:noAutofit/>
          </a:bodyPr>
          <a:lstStyle>
            <a:lvl1pPr marL="0" indent="0" algn="ctr">
              <a:buNone/>
              <a:defRPr sz="1600" b="1" cap="all" spc="1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rtl="0"/>
            <a:r>
              <a:rPr lang="de-DE" noProof="0"/>
              <a:t>Jahr hinzufügen</a:t>
            </a:r>
          </a:p>
        </p:txBody>
      </p:sp>
      <p:sp>
        <p:nvSpPr>
          <p:cNvPr id="53" name="Textplatzhalter 14">
            <a:extLst>
              <a:ext uri="{FF2B5EF4-FFF2-40B4-BE49-F238E27FC236}">
                <a16:creationId xmlns:a16="http://schemas.microsoft.com/office/drawing/2014/main" id="{453EA1A1-A67D-4132-9EA0-584E8FA796C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53772" y="4449967"/>
            <a:ext cx="1021001" cy="501726"/>
          </a:xfrm>
          <a:prstGeom prst="rect">
            <a:avLst/>
          </a:prstGeom>
        </p:spPr>
        <p:txBody>
          <a:bodyPr rtlCol="0" anchor="ctr">
            <a:noAutofit/>
          </a:bodyPr>
          <a:lstStyle>
            <a:lvl1pPr marL="0" indent="0" algn="ctr">
              <a:buNone/>
              <a:defRPr sz="1600" b="1" cap="all" spc="1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rtl="0"/>
            <a:r>
              <a:rPr lang="de-DE" noProof="0"/>
              <a:t>Jahr hinzufügen</a:t>
            </a:r>
          </a:p>
        </p:txBody>
      </p:sp>
      <p:sp>
        <p:nvSpPr>
          <p:cNvPr id="54" name="Textplatzhalter 14">
            <a:extLst>
              <a:ext uri="{FF2B5EF4-FFF2-40B4-BE49-F238E27FC236}">
                <a16:creationId xmlns:a16="http://schemas.microsoft.com/office/drawing/2014/main" id="{658BFCC4-C261-4874-8195-FDA3C5001E05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2029367" y="2071320"/>
            <a:ext cx="1440088" cy="598827"/>
          </a:xfrm>
          <a:prstGeom prst="rect">
            <a:avLst/>
          </a:prstGeom>
        </p:spPr>
        <p:txBody>
          <a:bodyPr rtlCol="0" anchor="b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cap="none" spc="10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 rtl="0"/>
            <a:r>
              <a:rPr lang="de-DE" noProof="0"/>
              <a:t>Klicken Sie, um Text hinzuzufügen.</a:t>
            </a:r>
          </a:p>
        </p:txBody>
      </p:sp>
      <p:sp>
        <p:nvSpPr>
          <p:cNvPr id="55" name="Textplatzhalter 14">
            <a:extLst>
              <a:ext uri="{FF2B5EF4-FFF2-40B4-BE49-F238E27FC236}">
                <a16:creationId xmlns:a16="http://schemas.microsoft.com/office/drawing/2014/main" id="{158708C7-ABA0-43E5-BB89-A1B7B2C45233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4397612" y="2071320"/>
            <a:ext cx="1440088" cy="598827"/>
          </a:xfrm>
          <a:prstGeom prst="rect">
            <a:avLst/>
          </a:prstGeom>
        </p:spPr>
        <p:txBody>
          <a:bodyPr rtlCol="0" anchor="b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cap="none" spc="10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 rtl="0"/>
            <a:r>
              <a:rPr lang="de-DE" noProof="0"/>
              <a:t>Klicken Sie, um Text hinzuzufügen.</a:t>
            </a:r>
          </a:p>
        </p:txBody>
      </p:sp>
      <p:sp>
        <p:nvSpPr>
          <p:cNvPr id="56" name="Textplatzhalter 14">
            <a:extLst>
              <a:ext uri="{FF2B5EF4-FFF2-40B4-BE49-F238E27FC236}">
                <a16:creationId xmlns:a16="http://schemas.microsoft.com/office/drawing/2014/main" id="{2AE59213-95B1-4597-AD8C-D55D96D561EA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8344687" y="2071320"/>
            <a:ext cx="1440088" cy="598827"/>
          </a:xfrm>
          <a:prstGeom prst="rect">
            <a:avLst/>
          </a:prstGeom>
        </p:spPr>
        <p:txBody>
          <a:bodyPr rtlCol="0" anchor="b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cap="none" spc="10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 rtl="0"/>
            <a:r>
              <a:rPr lang="de-DE" noProof="0"/>
              <a:t>Klicken Sie, um Text hinzuzufügen.</a:t>
            </a:r>
          </a:p>
        </p:txBody>
      </p:sp>
      <p:sp>
        <p:nvSpPr>
          <p:cNvPr id="57" name="Textplatzhalter 14">
            <a:extLst>
              <a:ext uri="{FF2B5EF4-FFF2-40B4-BE49-F238E27FC236}">
                <a16:creationId xmlns:a16="http://schemas.microsoft.com/office/drawing/2014/main" id="{2B9A460E-592F-41EA-9F9C-8953AFAC2236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2029367" y="3862599"/>
            <a:ext cx="1440088" cy="549318"/>
          </a:xfrm>
          <a:prstGeom prst="rect">
            <a:avLst/>
          </a:prstGeom>
        </p:spPr>
        <p:txBody>
          <a:bodyPr rtlCol="0" anchor="b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cap="none" spc="10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 rtl="0"/>
            <a:r>
              <a:rPr lang="de-DE" noProof="0"/>
              <a:t>Klicken Sie, um Text hinzuzufügen.</a:t>
            </a:r>
          </a:p>
        </p:txBody>
      </p:sp>
      <p:sp>
        <p:nvSpPr>
          <p:cNvPr id="58" name="Textplatzhalter 14">
            <a:extLst>
              <a:ext uri="{FF2B5EF4-FFF2-40B4-BE49-F238E27FC236}">
                <a16:creationId xmlns:a16="http://schemas.microsoft.com/office/drawing/2014/main" id="{3065B3A8-F99B-47E6-B517-D93AC0FC4501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5976442" y="3862599"/>
            <a:ext cx="1440088" cy="549318"/>
          </a:xfrm>
          <a:prstGeom prst="rect">
            <a:avLst/>
          </a:prstGeom>
        </p:spPr>
        <p:txBody>
          <a:bodyPr rtlCol="0" anchor="b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 cap="none" spc="100" baseline="0">
                <a:solidFill>
                  <a:schemeClr val="accent6"/>
                </a:solidFill>
                <a:latin typeface="+mn-lt"/>
              </a:defRPr>
            </a:lvl1pPr>
          </a:lstStyle>
          <a:p>
            <a:pPr lvl="0" rtl="0"/>
            <a:r>
              <a:rPr lang="de-DE" noProof="0"/>
              <a:t>Klicken Sie, um Text hinzuzufügen.</a:t>
            </a:r>
          </a:p>
        </p:txBody>
      </p:sp>
      <p:sp>
        <p:nvSpPr>
          <p:cNvPr id="59" name="Textplatzhalter 14">
            <a:extLst>
              <a:ext uri="{FF2B5EF4-FFF2-40B4-BE49-F238E27FC236}">
                <a16:creationId xmlns:a16="http://schemas.microsoft.com/office/drawing/2014/main" id="{B2187073-BC0A-4137-A204-D35C44CD7F87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9923517" y="3862599"/>
            <a:ext cx="1440088" cy="549318"/>
          </a:xfrm>
          <a:prstGeom prst="rect">
            <a:avLst/>
          </a:prstGeom>
        </p:spPr>
        <p:txBody>
          <a:bodyPr rtlCol="0" anchor="b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cap="none" spc="10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 rtl="0"/>
            <a:r>
              <a:rPr lang="de-DE" noProof="0"/>
              <a:t>Klicken Sie, um Text hinzuzufügen.</a:t>
            </a:r>
          </a:p>
        </p:txBody>
      </p:sp>
      <p:sp>
        <p:nvSpPr>
          <p:cNvPr id="40" name="Titel 1">
            <a:extLst>
              <a:ext uri="{FF2B5EF4-FFF2-40B4-BE49-F238E27FC236}">
                <a16:creationId xmlns:a16="http://schemas.microsoft.com/office/drawing/2014/main" id="{35F35AF6-FBA2-4CA2-8A1F-2C977E6C97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51534" y="989042"/>
            <a:ext cx="7287768" cy="630936"/>
          </a:xfrm>
        </p:spPr>
        <p:txBody>
          <a:bodyPr rtlCol="0" anchor="t">
            <a:noAutofit/>
          </a:bodyPr>
          <a:lstStyle>
            <a:lvl1pPr algn="ctr">
              <a:lnSpc>
                <a:spcPct val="125000"/>
              </a:lnSpc>
              <a:defRPr sz="2800">
                <a:ln w="19050">
                  <a:solidFill>
                    <a:schemeClr val="bg1"/>
                  </a:solidFill>
                </a:ln>
              </a:defRPr>
            </a:lvl1pPr>
          </a:lstStyle>
          <a:p>
            <a:pPr rtl="0"/>
            <a:r>
              <a:rPr lang="de-DE" noProof="0"/>
              <a:t>Titel durch Klicken hinzufügen</a:t>
            </a:r>
          </a:p>
        </p:txBody>
      </p:sp>
    </p:spTree>
    <p:extLst>
      <p:ext uri="{BB962C8B-B14F-4D97-AF65-F5344CB8AC3E}">
        <p14:creationId xmlns:p14="http://schemas.microsoft.com/office/powerpoint/2010/main" val="155821656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Über u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 1">
            <a:extLst>
              <a:ext uri="{FF2B5EF4-FFF2-40B4-BE49-F238E27FC236}">
                <a16:creationId xmlns:a16="http://schemas.microsoft.com/office/drawing/2014/main" id="{C99B8705-C027-4E12-892E-C32FF13296F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0" y="0"/>
            <a:ext cx="12188620" cy="6858000"/>
          </a:xfrm>
          <a:prstGeom prst="rect">
            <a:avLst/>
          </a:prstGeom>
        </p:spPr>
      </p:pic>
      <p:sp>
        <p:nvSpPr>
          <p:cNvPr id="7" name="Bildplatzhalter 7">
            <a:extLst>
              <a:ext uri="{FF2B5EF4-FFF2-40B4-BE49-F238E27FC236}">
                <a16:creationId xmlns:a16="http://schemas.microsoft.com/office/drawing/2014/main" id="{ED685DB5-FA77-4C19-88B8-5A8D733B42B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 flipH="1">
            <a:off x="5012530" y="0"/>
            <a:ext cx="7196138" cy="6867376"/>
          </a:xfrm>
        </p:spPr>
        <p:txBody>
          <a:bodyPr rtlCol="0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rtl="0"/>
            <a:r>
              <a:rPr lang="de-DE" noProof="0"/>
              <a:t>Zum Hinzufügen eines Fotos klick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346919B-FFF8-4FED-8A44-48A7E600EB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r>
              <a:rPr lang="en-US" noProof="0"/>
              <a:t>Q-Hack 25</a:t>
            </a:r>
            <a:endParaRPr lang="de-DE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6DF28B0-8A34-4E86-9FE3-20BD880CD9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r>
              <a:rPr lang="de-DE" noProof="0"/>
              <a:t>disQover Pitch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4BE1CCB-96B6-4D9F-A932-D0EBDBD7DA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A402E4C0-AD5E-4E8C-9F21-7CCE474BDCEB}" type="slidenum">
              <a:rPr lang="de-DE" noProof="0" smtClean="0"/>
              <a:t>‹#›</a:t>
            </a:fld>
            <a:endParaRPr lang="de-DE" noProof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F7CB735-9F66-41A8-8F1D-4B66FE1D11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-2" y="1672143"/>
            <a:ext cx="6019802" cy="3513714"/>
          </a:xfrm>
          <a:solidFill>
            <a:schemeClr val="accent6">
              <a:alpha val="80000"/>
            </a:schemeClr>
          </a:solidFill>
        </p:spPr>
        <p:txBody>
          <a:bodyPr lIns="676656" tIns="795528" rtlCol="0" anchor="t">
            <a:normAutofit/>
          </a:bodyPr>
          <a:lstStyle>
            <a:lvl1pPr>
              <a:defRPr sz="2800"/>
            </a:lvl1pPr>
          </a:lstStyle>
          <a:p>
            <a:pPr rtl="0"/>
            <a:r>
              <a:rPr lang="de-DE" noProof="0"/>
              <a:t>Titel durch Klicken hinzufügen</a:t>
            </a:r>
          </a:p>
        </p:txBody>
      </p:sp>
      <p:sp>
        <p:nvSpPr>
          <p:cNvPr id="11" name="Textplatzhalter 17">
            <a:extLst>
              <a:ext uri="{FF2B5EF4-FFF2-40B4-BE49-F238E27FC236}">
                <a16:creationId xmlns:a16="http://schemas.microsoft.com/office/drawing/2014/main" id="{4A51F916-D1A0-40B2-A894-1C597A7AAFB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94575" y="3007594"/>
            <a:ext cx="4850550" cy="1731145"/>
          </a:xfrm>
        </p:spPr>
        <p:txBody>
          <a:bodyPr rtlCol="0">
            <a:noAutofit/>
          </a:bodyPr>
          <a:lstStyle>
            <a:lvl1pPr marL="0" indent="0" algn="l">
              <a:lnSpc>
                <a:spcPct val="125000"/>
              </a:lnSpc>
              <a:buNone/>
              <a:defRPr sz="1400" spc="100" baseline="0">
                <a:solidFill>
                  <a:schemeClr val="accent2"/>
                </a:solidFill>
              </a:defRPr>
            </a:lvl1pPr>
          </a:lstStyle>
          <a:p>
            <a:pPr lvl="0" rtl="0"/>
            <a:r>
              <a:rPr lang="de-DE" noProof="0"/>
              <a:t>Klicken Sie, um Text hinzuzufügen.</a:t>
            </a:r>
          </a:p>
        </p:txBody>
      </p:sp>
    </p:spTree>
    <p:extLst>
      <p:ext uri="{BB962C8B-B14F-4D97-AF65-F5344CB8AC3E}">
        <p14:creationId xmlns:p14="http://schemas.microsoft.com/office/powerpoint/2010/main" val="123619509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-Jahres-Aktionspl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FD812AB-5CC7-CC8A-7B95-5602C3D49F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409934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6" imgH="486" progId="TCLayout.ActiveDocument.1">
                  <p:embed/>
                </p:oleObj>
              </mc:Choice>
              <mc:Fallback>
                <p:oleObj name="think-cell Slide" r:id="rId3" imgW="486" imgH="48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FD812AB-5CC7-CC8A-7B95-5602C3D49F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Bild 1">
            <a:extLst>
              <a:ext uri="{FF2B5EF4-FFF2-40B4-BE49-F238E27FC236}">
                <a16:creationId xmlns:a16="http://schemas.microsoft.com/office/drawing/2014/main" id="{79533791-52F7-40F6-B230-7BF6C505CCD6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E68A0C5-BEED-4BC5-ACD5-3F28EDE19E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r>
              <a:rPr lang="en-US" noProof="0"/>
              <a:t>Q-Hack 25</a:t>
            </a:r>
            <a:endParaRPr lang="de-DE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35EA781-4C22-4390-A03C-CA5DCCB7A2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r>
              <a:rPr lang="de-DE" noProof="0"/>
              <a:t>disQover Pitch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FE694A4-07AC-48C4-A560-162C1F4ECD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A402E4C0-AD5E-4E8C-9F21-7CCE474BDCEB}" type="slidenum">
              <a:rPr lang="de-DE" noProof="0" smtClean="0"/>
              <a:pPr rtl="0"/>
              <a:t>‹#›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322571089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nz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 1">
            <a:extLst>
              <a:ext uri="{FF2B5EF4-FFF2-40B4-BE49-F238E27FC236}">
                <a16:creationId xmlns:a16="http://schemas.microsoft.com/office/drawing/2014/main" id="{75C89BE0-E34D-48FA-8ED2-CA69BFBC4FB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13" name="Bildplatzhalter 7">
            <a:extLst>
              <a:ext uri="{FF2B5EF4-FFF2-40B4-BE49-F238E27FC236}">
                <a16:creationId xmlns:a16="http://schemas.microsoft.com/office/drawing/2014/main" id="{AB20A778-FBFD-4ED2-8E9B-6645F59A4D1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179732" y="0"/>
            <a:ext cx="5012268" cy="6867376"/>
          </a:xfrm>
        </p:spPr>
        <p:txBody>
          <a:bodyPr rtlCol="0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rtl="0"/>
            <a:r>
              <a:rPr lang="de-DE" noProof="0"/>
              <a:t>Zum Hinzufügen eines Fotos klicken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3B12CF59-4802-4969-8645-8E2014DF0AB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179732" y="0"/>
            <a:ext cx="5012267" cy="6867376"/>
          </a:xfrm>
        </p:spPr>
        <p:txBody>
          <a:bodyPr rtlCol="0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rtl="0"/>
            <a:r>
              <a:rPr lang="de-DE" noProof="0"/>
              <a:t>Zum Hinzufügen eines Fotos klick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523CB959-A5D6-4887-9B77-916F0EA106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r>
              <a:rPr lang="en-US" noProof="0"/>
              <a:t>Q-Hack 25</a:t>
            </a:r>
            <a:endParaRPr lang="de-DE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8C0AFFF-66EA-44D7-828D-244A190B13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r>
              <a:rPr lang="de-DE" noProof="0"/>
              <a:t>disQover Pitch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D589006-A738-42A2-B328-34F70A778A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A402E4C0-AD5E-4E8C-9F21-7CCE474BDCEB}" type="slidenum">
              <a:rPr lang="de-DE" noProof="0" smtClean="0"/>
              <a:pPr rtl="0"/>
              <a:t>‹#›</a:t>
            </a:fld>
            <a:endParaRPr lang="de-DE" noProof="0"/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473E75D8-7274-49D2-8CF2-0E990C29CC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93750" y="715939"/>
            <a:ext cx="4864608" cy="365760"/>
          </a:xfrm>
        </p:spPr>
        <p:txBody>
          <a:bodyPr rtlCol="0" anchor="t">
            <a:noAutofit/>
          </a:bodyPr>
          <a:lstStyle>
            <a:lvl1pPr>
              <a:defRPr sz="2800">
                <a:ln w="19050">
                  <a:solidFill>
                    <a:schemeClr val="bg1"/>
                  </a:solidFill>
                </a:ln>
              </a:defRPr>
            </a:lvl1pPr>
          </a:lstStyle>
          <a:p>
            <a:pPr rtl="0"/>
            <a:r>
              <a:rPr lang="de-DE" noProof="0"/>
              <a:t>Titel durch Klicken hinzufüg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28591683-9C5C-45D2-A241-FC48B66B50DB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793750" y="1238250"/>
            <a:ext cx="5422392" cy="4590288"/>
          </a:xfrm>
        </p:spPr>
        <p:txBody>
          <a:bodyPr rtlCol="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 rtl="0"/>
            <a:r>
              <a:rPr lang="de-DE" noProof="0"/>
              <a:t>Textmasterformat durch Klicken bearbeiten</a:t>
            </a:r>
          </a:p>
          <a:p>
            <a:pPr lvl="1" rtl="0"/>
            <a:r>
              <a:rPr lang="de-DE" noProof="0"/>
              <a:t>Zweite Ebene</a:t>
            </a:r>
          </a:p>
          <a:p>
            <a:pPr lvl="2" rtl="0"/>
            <a:r>
              <a:rPr lang="de-DE" noProof="0"/>
              <a:t>Dritte Ebene</a:t>
            </a:r>
          </a:p>
          <a:p>
            <a:pPr lvl="3" rtl="0"/>
            <a:r>
              <a:rPr lang="de-DE" noProof="0"/>
              <a:t>Vierte Ebene</a:t>
            </a:r>
          </a:p>
          <a:p>
            <a:pPr lvl="4" rtl="0"/>
            <a:r>
              <a:rPr lang="de-DE" noProof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57409676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Team in Per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 5">
            <a:extLst>
              <a:ext uri="{FF2B5EF4-FFF2-40B4-BE49-F238E27FC236}">
                <a16:creationId xmlns:a16="http://schemas.microsoft.com/office/drawing/2014/main" id="{339293AB-35CB-4344-A710-9C0BF396AEA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E5B5434-FC37-4DD2-AA81-6499AA6FB2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r>
              <a:rPr lang="en-US" noProof="0"/>
              <a:t>Q-Hack 25</a:t>
            </a:r>
            <a:endParaRPr lang="de-DE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8DC474A-5DF9-4EA3-A273-CA39410616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r>
              <a:rPr lang="de-DE" noProof="0"/>
              <a:t>disQover Pitch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F6B1742-3B51-4EFC-8A04-CD872DE4EC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A402E4C0-AD5E-4E8C-9F21-7CCE474BDCEB}" type="slidenum">
              <a:rPr lang="de-DE" noProof="0" smtClean="0"/>
              <a:pPr rtl="0"/>
              <a:t>‹#›</a:t>
            </a:fld>
            <a:endParaRPr lang="de-DE" noProof="0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425C06A4-0C2D-4746-83C3-410A9B469E89}"/>
              </a:ext>
            </a:extLst>
          </p:cNvPr>
          <p:cNvSpPr/>
          <p:nvPr userDrawn="1"/>
        </p:nvSpPr>
        <p:spPr>
          <a:xfrm>
            <a:off x="739302" y="739302"/>
            <a:ext cx="10713396" cy="5379396"/>
          </a:xfrm>
          <a:prstGeom prst="rect">
            <a:avLst/>
          </a:prstGeom>
          <a:solidFill>
            <a:schemeClr val="bg2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noProof="0"/>
          </a:p>
        </p:txBody>
      </p:sp>
      <p:sp>
        <p:nvSpPr>
          <p:cNvPr id="13" name="Bildplatzhalter 9">
            <a:extLst>
              <a:ext uri="{FF2B5EF4-FFF2-40B4-BE49-F238E27FC236}">
                <a16:creationId xmlns:a16="http://schemas.microsoft.com/office/drawing/2014/main" id="{890CF5DC-D21B-4DF3-8248-1F809124AD9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803737" y="2804053"/>
            <a:ext cx="1487419" cy="1498417"/>
          </a:xfrm>
          <a:prstGeom prst="rect">
            <a:avLst/>
          </a:prstGeom>
        </p:spPr>
        <p:txBody>
          <a:bodyPr rtlCol="0"/>
          <a:lstStyle>
            <a:lvl1pPr marL="0" indent="0" algn="ctr">
              <a:buNone/>
              <a:defRPr/>
            </a:lvl1pPr>
          </a:lstStyle>
          <a:p>
            <a:pPr rtl="0"/>
            <a:r>
              <a:rPr lang="de-DE" noProof="0"/>
              <a:t>Zum Hinzufügen eines Fotos klicken</a:t>
            </a:r>
          </a:p>
        </p:txBody>
      </p:sp>
      <p:sp>
        <p:nvSpPr>
          <p:cNvPr id="14" name="Textplatzhalter 10">
            <a:extLst>
              <a:ext uri="{FF2B5EF4-FFF2-40B4-BE49-F238E27FC236}">
                <a16:creationId xmlns:a16="http://schemas.microsoft.com/office/drawing/2014/main" id="{BEE26967-C0C7-4310-90FC-F1914D2403E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488239" y="4570546"/>
            <a:ext cx="2118414" cy="332113"/>
          </a:xfrm>
          <a:prstGeom prst="rect">
            <a:avLst/>
          </a:prstGeom>
        </p:spPr>
        <p:txBody>
          <a:bodyPr rtlCol="0" anchor="b">
            <a:normAutofit/>
          </a:bodyPr>
          <a:lstStyle>
            <a:lvl1pPr marL="0" indent="0" algn="ctr">
              <a:buNone/>
              <a:defRPr sz="1400" b="1" cap="all" spc="100" baseline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rtl="0"/>
            <a:r>
              <a:rPr lang="de-DE" noProof="0"/>
              <a:t>Namen hinzufügen</a:t>
            </a:r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3CA187B6-5AE8-4D11-8E79-63677F474D2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488239" y="4886780"/>
            <a:ext cx="2118414" cy="531393"/>
          </a:xfrm>
          <a:prstGeom prst="rect">
            <a:avLst/>
          </a:prstGeom>
        </p:spPr>
        <p:txBody>
          <a:bodyPr rtlCol="0" anchor="t">
            <a:normAutofit/>
          </a:bodyPr>
          <a:lstStyle>
            <a:lvl1pPr marL="0" indent="0" algn="ctr">
              <a:buNone/>
              <a:defRPr sz="1200" cap="none" spc="1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 rtl="0"/>
            <a:r>
              <a:rPr lang="de-DE" noProof="0"/>
              <a:t>Titel hinzufügen</a:t>
            </a:r>
          </a:p>
        </p:txBody>
      </p:sp>
      <p:sp>
        <p:nvSpPr>
          <p:cNvPr id="16" name="Bildplatzhalter 9">
            <a:extLst>
              <a:ext uri="{FF2B5EF4-FFF2-40B4-BE49-F238E27FC236}">
                <a16:creationId xmlns:a16="http://schemas.microsoft.com/office/drawing/2014/main" id="{A72BAC04-D935-470E-B6B5-E9CCE70D11F4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4175961" y="2804053"/>
            <a:ext cx="1487419" cy="1498417"/>
          </a:xfrm>
          <a:prstGeom prst="rect">
            <a:avLst/>
          </a:prstGeom>
        </p:spPr>
        <p:txBody>
          <a:bodyPr rtlCol="0"/>
          <a:lstStyle>
            <a:lvl1pPr marL="0" indent="0" algn="ctr">
              <a:buNone/>
              <a:defRPr/>
            </a:lvl1pPr>
          </a:lstStyle>
          <a:p>
            <a:pPr rtl="0"/>
            <a:r>
              <a:rPr lang="de-DE" noProof="0"/>
              <a:t>Zum Hinzufügen eines Fotos klicken</a:t>
            </a:r>
          </a:p>
        </p:txBody>
      </p:sp>
      <p:sp>
        <p:nvSpPr>
          <p:cNvPr id="17" name="Bildplatzhalter 9">
            <a:extLst>
              <a:ext uri="{FF2B5EF4-FFF2-40B4-BE49-F238E27FC236}">
                <a16:creationId xmlns:a16="http://schemas.microsoft.com/office/drawing/2014/main" id="{456256DC-B113-4559-8D0B-3F8B4A7CAB2B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548185" y="2804053"/>
            <a:ext cx="1487419" cy="1498417"/>
          </a:xfrm>
          <a:prstGeom prst="rect">
            <a:avLst/>
          </a:prstGeom>
        </p:spPr>
        <p:txBody>
          <a:bodyPr rtlCol="0"/>
          <a:lstStyle>
            <a:lvl1pPr marL="0" indent="0" algn="ctr">
              <a:buNone/>
              <a:defRPr/>
            </a:lvl1pPr>
          </a:lstStyle>
          <a:p>
            <a:pPr rtl="0"/>
            <a:r>
              <a:rPr lang="de-DE" noProof="0"/>
              <a:t>Zum Hinzufügen eines Fotos klicken</a:t>
            </a:r>
          </a:p>
        </p:txBody>
      </p:sp>
      <p:sp>
        <p:nvSpPr>
          <p:cNvPr id="18" name="Bildplatzhalter 9">
            <a:extLst>
              <a:ext uri="{FF2B5EF4-FFF2-40B4-BE49-F238E27FC236}">
                <a16:creationId xmlns:a16="http://schemas.microsoft.com/office/drawing/2014/main" id="{E60A063A-DD07-4E82-9217-A8AD06D7C94F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8920409" y="2804053"/>
            <a:ext cx="1487419" cy="1498417"/>
          </a:xfrm>
          <a:prstGeom prst="rect">
            <a:avLst/>
          </a:prstGeom>
        </p:spPr>
        <p:txBody>
          <a:bodyPr rtlCol="0"/>
          <a:lstStyle>
            <a:lvl1pPr marL="0" indent="0" algn="ctr">
              <a:buNone/>
              <a:defRPr/>
            </a:lvl1pPr>
          </a:lstStyle>
          <a:p>
            <a:pPr rtl="0"/>
            <a:r>
              <a:rPr lang="de-DE" noProof="0"/>
              <a:t>Zum Hinzufügen eines Fotos klicken</a:t>
            </a:r>
          </a:p>
        </p:txBody>
      </p:sp>
      <p:sp>
        <p:nvSpPr>
          <p:cNvPr id="19" name="Textplatzhalter 10">
            <a:extLst>
              <a:ext uri="{FF2B5EF4-FFF2-40B4-BE49-F238E27FC236}">
                <a16:creationId xmlns:a16="http://schemas.microsoft.com/office/drawing/2014/main" id="{4194B9ED-C9B7-4850-B875-B179F9A6ADC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60463" y="4570546"/>
            <a:ext cx="2118414" cy="332113"/>
          </a:xfrm>
          <a:prstGeom prst="rect">
            <a:avLst/>
          </a:prstGeom>
        </p:spPr>
        <p:txBody>
          <a:bodyPr rtlCol="0" anchor="b">
            <a:normAutofit/>
          </a:bodyPr>
          <a:lstStyle>
            <a:lvl1pPr marL="0" indent="0" algn="ctr">
              <a:buNone/>
              <a:defRPr sz="1400" b="1" cap="all" spc="100" baseline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rtl="0"/>
            <a:r>
              <a:rPr lang="de-DE" noProof="0"/>
              <a:t>Namen hinzufügen</a:t>
            </a:r>
          </a:p>
        </p:txBody>
      </p:sp>
      <p:sp>
        <p:nvSpPr>
          <p:cNvPr id="20" name="Textplatzhalter 10">
            <a:extLst>
              <a:ext uri="{FF2B5EF4-FFF2-40B4-BE49-F238E27FC236}">
                <a16:creationId xmlns:a16="http://schemas.microsoft.com/office/drawing/2014/main" id="{DBB00C57-7DE2-436D-8748-527515EE4A6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860463" y="4886780"/>
            <a:ext cx="2118414" cy="531393"/>
          </a:xfrm>
          <a:prstGeom prst="rect">
            <a:avLst/>
          </a:prstGeom>
        </p:spPr>
        <p:txBody>
          <a:bodyPr rtlCol="0" anchor="t">
            <a:normAutofit/>
          </a:bodyPr>
          <a:lstStyle>
            <a:lvl1pPr marL="0" indent="0" algn="ctr">
              <a:buNone/>
              <a:defRPr sz="1200" cap="none" spc="1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 rtl="0"/>
            <a:r>
              <a:rPr lang="de-DE" noProof="0"/>
              <a:t>Titel hinzufügen</a:t>
            </a:r>
          </a:p>
        </p:txBody>
      </p:sp>
      <p:sp>
        <p:nvSpPr>
          <p:cNvPr id="21" name="Textplatzhalter 10">
            <a:extLst>
              <a:ext uri="{FF2B5EF4-FFF2-40B4-BE49-F238E27FC236}">
                <a16:creationId xmlns:a16="http://schemas.microsoft.com/office/drawing/2014/main" id="{D6503F18-AEB2-4183-8F37-6BE4BBD66EE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32687" y="4570546"/>
            <a:ext cx="2118414" cy="332113"/>
          </a:xfrm>
          <a:prstGeom prst="rect">
            <a:avLst/>
          </a:prstGeom>
        </p:spPr>
        <p:txBody>
          <a:bodyPr rtlCol="0" anchor="b">
            <a:normAutofit/>
          </a:bodyPr>
          <a:lstStyle>
            <a:lvl1pPr marL="0" indent="0" algn="ctr">
              <a:buNone/>
              <a:defRPr sz="1400" b="1" cap="all" spc="100" baseline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rtl="0"/>
            <a:r>
              <a:rPr lang="de-DE" noProof="0"/>
              <a:t>Namen hinzufügen</a:t>
            </a:r>
          </a:p>
        </p:txBody>
      </p:sp>
      <p:sp>
        <p:nvSpPr>
          <p:cNvPr id="22" name="Textplatzhalter 10">
            <a:extLst>
              <a:ext uri="{FF2B5EF4-FFF2-40B4-BE49-F238E27FC236}">
                <a16:creationId xmlns:a16="http://schemas.microsoft.com/office/drawing/2014/main" id="{D01AC31E-901A-4C34-A8AE-71C303E07F5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32687" y="4886780"/>
            <a:ext cx="2118414" cy="531393"/>
          </a:xfrm>
          <a:prstGeom prst="rect">
            <a:avLst/>
          </a:prstGeom>
        </p:spPr>
        <p:txBody>
          <a:bodyPr rtlCol="0" anchor="t">
            <a:normAutofit/>
          </a:bodyPr>
          <a:lstStyle>
            <a:lvl1pPr marL="0" indent="0" algn="ctr">
              <a:buNone/>
              <a:defRPr sz="1200" cap="none" spc="1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 rtl="0"/>
            <a:r>
              <a:rPr lang="de-DE" noProof="0"/>
              <a:t>Titel hinzufügen</a:t>
            </a:r>
          </a:p>
        </p:txBody>
      </p:sp>
      <p:sp>
        <p:nvSpPr>
          <p:cNvPr id="23" name="Textplatzhalter 10">
            <a:extLst>
              <a:ext uri="{FF2B5EF4-FFF2-40B4-BE49-F238E27FC236}">
                <a16:creationId xmlns:a16="http://schemas.microsoft.com/office/drawing/2014/main" id="{F113CB6D-E397-418B-8738-D96E553ADD2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04911" y="4570546"/>
            <a:ext cx="2118415" cy="332113"/>
          </a:xfrm>
          <a:prstGeom prst="rect">
            <a:avLst/>
          </a:prstGeom>
        </p:spPr>
        <p:txBody>
          <a:bodyPr rtlCol="0" anchor="b">
            <a:normAutofit/>
          </a:bodyPr>
          <a:lstStyle>
            <a:lvl1pPr marL="0" indent="0" algn="ctr">
              <a:buNone/>
              <a:defRPr sz="1400" b="1" cap="all" spc="100" baseline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rtl="0"/>
            <a:r>
              <a:rPr lang="de-DE" noProof="0"/>
              <a:t>Namen hinzufügen</a:t>
            </a:r>
          </a:p>
        </p:txBody>
      </p:sp>
      <p:sp>
        <p:nvSpPr>
          <p:cNvPr id="24" name="Textplatzhalter 10">
            <a:extLst>
              <a:ext uri="{FF2B5EF4-FFF2-40B4-BE49-F238E27FC236}">
                <a16:creationId xmlns:a16="http://schemas.microsoft.com/office/drawing/2014/main" id="{63EA5C1A-BB92-4C5E-BB99-A85B0B0FC49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04911" y="4886780"/>
            <a:ext cx="2118415" cy="531393"/>
          </a:xfrm>
          <a:prstGeom prst="rect">
            <a:avLst/>
          </a:prstGeom>
        </p:spPr>
        <p:txBody>
          <a:bodyPr rtlCol="0" anchor="t">
            <a:normAutofit/>
          </a:bodyPr>
          <a:lstStyle>
            <a:lvl1pPr marL="0" indent="0" algn="ctr">
              <a:buNone/>
              <a:defRPr sz="1200" cap="none" spc="1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 rtl="0"/>
            <a:r>
              <a:rPr lang="de-DE" noProof="0"/>
              <a:t>Titel hinzufügen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90E93D6C-0CD6-42A7-A2D2-C8582F7B353C}"/>
              </a:ext>
            </a:extLst>
          </p:cNvPr>
          <p:cNvSpPr/>
          <p:nvPr userDrawn="1"/>
        </p:nvSpPr>
        <p:spPr>
          <a:xfrm>
            <a:off x="1686323" y="2684612"/>
            <a:ext cx="1722246" cy="1737299"/>
          </a:xfrm>
          <a:prstGeom prst="rect">
            <a:avLst/>
          </a:prstGeom>
          <a:noFill/>
          <a:ln w="254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noProof="0"/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B7D0FDBA-5294-4730-92D6-440AA8DE35AE}"/>
              </a:ext>
            </a:extLst>
          </p:cNvPr>
          <p:cNvSpPr/>
          <p:nvPr userDrawn="1"/>
        </p:nvSpPr>
        <p:spPr>
          <a:xfrm>
            <a:off x="4058547" y="2684612"/>
            <a:ext cx="1722246" cy="1737299"/>
          </a:xfrm>
          <a:prstGeom prst="rect">
            <a:avLst/>
          </a:prstGeom>
          <a:noFill/>
          <a:ln w="254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noProof="0"/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E8E75564-AD04-4406-979E-AC0A8BE2AEFD}"/>
              </a:ext>
            </a:extLst>
          </p:cNvPr>
          <p:cNvSpPr/>
          <p:nvPr userDrawn="1"/>
        </p:nvSpPr>
        <p:spPr>
          <a:xfrm>
            <a:off x="6430771" y="2684612"/>
            <a:ext cx="1722246" cy="1737299"/>
          </a:xfrm>
          <a:prstGeom prst="rect">
            <a:avLst/>
          </a:prstGeom>
          <a:noFill/>
          <a:ln w="254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noProof="0"/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0E7899F8-DBAB-4DCC-857C-94A3CF0FE542}"/>
              </a:ext>
            </a:extLst>
          </p:cNvPr>
          <p:cNvSpPr/>
          <p:nvPr userDrawn="1"/>
        </p:nvSpPr>
        <p:spPr>
          <a:xfrm>
            <a:off x="8802995" y="2684612"/>
            <a:ext cx="1722246" cy="1737299"/>
          </a:xfrm>
          <a:prstGeom prst="rect">
            <a:avLst/>
          </a:prstGeom>
          <a:noFill/>
          <a:ln w="254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B41C8F6-B68C-4B34-A1EC-848B6301BE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52698" y="1566777"/>
            <a:ext cx="7286604" cy="634323"/>
          </a:xfrm>
        </p:spPr>
        <p:txBody>
          <a:bodyPr rtlCol="0" anchor="t">
            <a:normAutofit/>
          </a:bodyPr>
          <a:lstStyle>
            <a:lvl1pPr algn="ctr">
              <a:lnSpc>
                <a:spcPct val="125000"/>
              </a:lnSpc>
              <a:defRPr sz="2800"/>
            </a:lvl1pPr>
          </a:lstStyle>
          <a:p>
            <a:pPr rtl="0"/>
            <a:r>
              <a:rPr lang="de-DE" noProof="0"/>
              <a:t>Titel durch Klicken hinzufügen</a:t>
            </a:r>
          </a:p>
        </p:txBody>
      </p:sp>
    </p:spTree>
    <p:extLst>
      <p:ext uri="{BB962C8B-B14F-4D97-AF65-F5344CB8AC3E}">
        <p14:creationId xmlns:p14="http://schemas.microsoft.com/office/powerpoint/2010/main" val="171406022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as Team in Per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 5">
            <a:extLst>
              <a:ext uri="{FF2B5EF4-FFF2-40B4-BE49-F238E27FC236}">
                <a16:creationId xmlns:a16="http://schemas.microsoft.com/office/drawing/2014/main" id="{339293AB-35CB-4344-A710-9C0BF396AEA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E5B5434-FC37-4DD2-AA81-6499AA6FB2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r>
              <a:rPr lang="en-US" noProof="0"/>
              <a:t>Q-Hack 25</a:t>
            </a:r>
            <a:endParaRPr lang="de-DE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8DC474A-5DF9-4EA3-A273-CA39410616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r>
              <a:rPr lang="de-DE" noProof="0"/>
              <a:t>disQover Pitch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F6B1742-3B51-4EFC-8A04-CD872DE4EC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A402E4C0-AD5E-4E8C-9F21-7CCE474BDCEB}" type="slidenum">
              <a:rPr lang="de-DE" noProof="0" smtClean="0"/>
              <a:pPr rtl="0"/>
              <a:t>‹#›</a:t>
            </a:fld>
            <a:endParaRPr lang="de-DE" noProof="0"/>
          </a:p>
        </p:txBody>
      </p:sp>
      <p:sp>
        <p:nvSpPr>
          <p:cNvPr id="13" name="Bildplatzhalter 9">
            <a:extLst>
              <a:ext uri="{FF2B5EF4-FFF2-40B4-BE49-F238E27FC236}">
                <a16:creationId xmlns:a16="http://schemas.microsoft.com/office/drawing/2014/main" id="{890CF5DC-D21B-4DF3-8248-1F809124AD9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803737" y="2804053"/>
            <a:ext cx="1487419" cy="1498417"/>
          </a:xfrm>
          <a:prstGeom prst="rect">
            <a:avLst/>
          </a:prstGeom>
        </p:spPr>
        <p:txBody>
          <a:bodyPr rtlCol="0"/>
          <a:lstStyle>
            <a:lvl1pPr marL="0" indent="0" algn="ctr">
              <a:buNone/>
              <a:defRPr/>
            </a:lvl1pPr>
          </a:lstStyle>
          <a:p>
            <a:pPr rtl="0"/>
            <a:r>
              <a:rPr lang="de-DE" noProof="0"/>
              <a:t>Zum Hinzufügen eines Fotos klicken</a:t>
            </a:r>
          </a:p>
        </p:txBody>
      </p:sp>
      <p:sp>
        <p:nvSpPr>
          <p:cNvPr id="14" name="Textplatzhalter 10">
            <a:extLst>
              <a:ext uri="{FF2B5EF4-FFF2-40B4-BE49-F238E27FC236}">
                <a16:creationId xmlns:a16="http://schemas.microsoft.com/office/drawing/2014/main" id="{BEE26967-C0C7-4310-90FC-F1914D2403E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488239" y="4570546"/>
            <a:ext cx="2118414" cy="332113"/>
          </a:xfrm>
          <a:prstGeom prst="rect">
            <a:avLst/>
          </a:prstGeom>
        </p:spPr>
        <p:txBody>
          <a:bodyPr rtlCol="0" anchor="b">
            <a:normAutofit/>
          </a:bodyPr>
          <a:lstStyle>
            <a:lvl1pPr marL="0" indent="0" algn="ctr">
              <a:buNone/>
              <a:defRPr sz="1400" b="1" cap="all" spc="100" baseline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rtl="0"/>
            <a:r>
              <a:rPr lang="de-DE" noProof="0"/>
              <a:t>Namen hinzufügen</a:t>
            </a:r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3CA187B6-5AE8-4D11-8E79-63677F474D2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488239" y="4886780"/>
            <a:ext cx="2118414" cy="531393"/>
          </a:xfrm>
          <a:prstGeom prst="rect">
            <a:avLst/>
          </a:prstGeom>
        </p:spPr>
        <p:txBody>
          <a:bodyPr rtlCol="0" anchor="t">
            <a:normAutofit/>
          </a:bodyPr>
          <a:lstStyle>
            <a:lvl1pPr marL="0" indent="0" algn="ctr">
              <a:buNone/>
              <a:defRPr sz="1200" cap="none" spc="1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 rtl="0"/>
            <a:r>
              <a:rPr lang="de-DE" noProof="0"/>
              <a:t>Titel hinzufügen</a:t>
            </a:r>
          </a:p>
        </p:txBody>
      </p:sp>
      <p:sp>
        <p:nvSpPr>
          <p:cNvPr id="16" name="Bildplatzhalter 9">
            <a:extLst>
              <a:ext uri="{FF2B5EF4-FFF2-40B4-BE49-F238E27FC236}">
                <a16:creationId xmlns:a16="http://schemas.microsoft.com/office/drawing/2014/main" id="{A72BAC04-D935-470E-B6B5-E9CCE70D11F4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4175961" y="2804053"/>
            <a:ext cx="1487419" cy="1498417"/>
          </a:xfrm>
          <a:prstGeom prst="rect">
            <a:avLst/>
          </a:prstGeom>
        </p:spPr>
        <p:txBody>
          <a:bodyPr rtlCol="0"/>
          <a:lstStyle>
            <a:lvl1pPr marL="0" indent="0" algn="ctr">
              <a:buNone/>
              <a:defRPr/>
            </a:lvl1pPr>
          </a:lstStyle>
          <a:p>
            <a:pPr rtl="0"/>
            <a:r>
              <a:rPr lang="de-DE" noProof="0"/>
              <a:t>Zum Hinzufügen eines Fotos klicken</a:t>
            </a:r>
          </a:p>
        </p:txBody>
      </p:sp>
      <p:sp>
        <p:nvSpPr>
          <p:cNvPr id="17" name="Bildplatzhalter 9">
            <a:extLst>
              <a:ext uri="{FF2B5EF4-FFF2-40B4-BE49-F238E27FC236}">
                <a16:creationId xmlns:a16="http://schemas.microsoft.com/office/drawing/2014/main" id="{456256DC-B113-4559-8D0B-3F8B4A7CAB2B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548185" y="2804053"/>
            <a:ext cx="1487419" cy="1498417"/>
          </a:xfrm>
          <a:prstGeom prst="rect">
            <a:avLst/>
          </a:prstGeom>
        </p:spPr>
        <p:txBody>
          <a:bodyPr rtlCol="0"/>
          <a:lstStyle>
            <a:lvl1pPr marL="0" indent="0" algn="ctr">
              <a:buNone/>
              <a:defRPr/>
            </a:lvl1pPr>
          </a:lstStyle>
          <a:p>
            <a:pPr rtl="0"/>
            <a:r>
              <a:rPr lang="de-DE" noProof="0"/>
              <a:t>Zum Hinzufügen eines Fotos klicken</a:t>
            </a:r>
          </a:p>
        </p:txBody>
      </p:sp>
      <p:sp>
        <p:nvSpPr>
          <p:cNvPr id="18" name="Bildplatzhalter 9">
            <a:extLst>
              <a:ext uri="{FF2B5EF4-FFF2-40B4-BE49-F238E27FC236}">
                <a16:creationId xmlns:a16="http://schemas.microsoft.com/office/drawing/2014/main" id="{E60A063A-DD07-4E82-9217-A8AD06D7C94F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8920409" y="2804053"/>
            <a:ext cx="1487419" cy="1498417"/>
          </a:xfrm>
          <a:prstGeom prst="rect">
            <a:avLst/>
          </a:prstGeom>
        </p:spPr>
        <p:txBody>
          <a:bodyPr rtlCol="0"/>
          <a:lstStyle>
            <a:lvl1pPr marL="0" indent="0" algn="ctr">
              <a:buNone/>
              <a:defRPr/>
            </a:lvl1pPr>
          </a:lstStyle>
          <a:p>
            <a:pPr rtl="0"/>
            <a:r>
              <a:rPr lang="de-DE" noProof="0"/>
              <a:t>Zum Hinzufügen eines Fotos klicken</a:t>
            </a:r>
          </a:p>
        </p:txBody>
      </p:sp>
      <p:sp>
        <p:nvSpPr>
          <p:cNvPr id="19" name="Textplatzhalter 10">
            <a:extLst>
              <a:ext uri="{FF2B5EF4-FFF2-40B4-BE49-F238E27FC236}">
                <a16:creationId xmlns:a16="http://schemas.microsoft.com/office/drawing/2014/main" id="{4194B9ED-C9B7-4850-B875-B179F9A6ADC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60463" y="4570546"/>
            <a:ext cx="2118414" cy="332113"/>
          </a:xfrm>
          <a:prstGeom prst="rect">
            <a:avLst/>
          </a:prstGeom>
        </p:spPr>
        <p:txBody>
          <a:bodyPr rtlCol="0" anchor="b">
            <a:normAutofit/>
          </a:bodyPr>
          <a:lstStyle>
            <a:lvl1pPr marL="0" indent="0" algn="ctr">
              <a:buNone/>
              <a:defRPr sz="1400" b="1" cap="all" spc="100" baseline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rtl="0"/>
            <a:r>
              <a:rPr lang="de-DE" noProof="0"/>
              <a:t>Namen hinzufügen</a:t>
            </a:r>
          </a:p>
        </p:txBody>
      </p:sp>
      <p:sp>
        <p:nvSpPr>
          <p:cNvPr id="20" name="Textplatzhalter 10">
            <a:extLst>
              <a:ext uri="{FF2B5EF4-FFF2-40B4-BE49-F238E27FC236}">
                <a16:creationId xmlns:a16="http://schemas.microsoft.com/office/drawing/2014/main" id="{DBB00C57-7DE2-436D-8748-527515EE4A6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860463" y="4886780"/>
            <a:ext cx="2118414" cy="531393"/>
          </a:xfrm>
          <a:prstGeom prst="rect">
            <a:avLst/>
          </a:prstGeom>
        </p:spPr>
        <p:txBody>
          <a:bodyPr rtlCol="0" anchor="t">
            <a:normAutofit/>
          </a:bodyPr>
          <a:lstStyle>
            <a:lvl1pPr marL="0" indent="0" algn="ctr">
              <a:buNone/>
              <a:defRPr sz="1200" cap="none" spc="1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 rtl="0"/>
            <a:r>
              <a:rPr lang="de-DE" noProof="0"/>
              <a:t>Titel hinzufügen</a:t>
            </a:r>
          </a:p>
        </p:txBody>
      </p:sp>
      <p:sp>
        <p:nvSpPr>
          <p:cNvPr id="21" name="Textplatzhalter 10">
            <a:extLst>
              <a:ext uri="{FF2B5EF4-FFF2-40B4-BE49-F238E27FC236}">
                <a16:creationId xmlns:a16="http://schemas.microsoft.com/office/drawing/2014/main" id="{D6503F18-AEB2-4183-8F37-6BE4BBD66EE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32687" y="4570546"/>
            <a:ext cx="2118414" cy="332113"/>
          </a:xfrm>
          <a:prstGeom prst="rect">
            <a:avLst/>
          </a:prstGeom>
        </p:spPr>
        <p:txBody>
          <a:bodyPr rtlCol="0" anchor="b">
            <a:normAutofit/>
          </a:bodyPr>
          <a:lstStyle>
            <a:lvl1pPr marL="0" indent="0" algn="ctr">
              <a:buNone/>
              <a:defRPr sz="1400" b="1" cap="all" spc="100" baseline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rtl="0"/>
            <a:r>
              <a:rPr lang="de-DE" noProof="0"/>
              <a:t>Namen hinzufügen</a:t>
            </a:r>
          </a:p>
        </p:txBody>
      </p:sp>
      <p:sp>
        <p:nvSpPr>
          <p:cNvPr id="22" name="Textplatzhalter 10">
            <a:extLst>
              <a:ext uri="{FF2B5EF4-FFF2-40B4-BE49-F238E27FC236}">
                <a16:creationId xmlns:a16="http://schemas.microsoft.com/office/drawing/2014/main" id="{D01AC31E-901A-4C34-A8AE-71C303E07F5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32687" y="4886780"/>
            <a:ext cx="2118414" cy="531393"/>
          </a:xfrm>
          <a:prstGeom prst="rect">
            <a:avLst/>
          </a:prstGeom>
        </p:spPr>
        <p:txBody>
          <a:bodyPr rtlCol="0" anchor="t">
            <a:normAutofit/>
          </a:bodyPr>
          <a:lstStyle>
            <a:lvl1pPr marL="0" indent="0" algn="ctr">
              <a:buNone/>
              <a:defRPr sz="1200" cap="none" spc="1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 rtl="0"/>
            <a:r>
              <a:rPr lang="de-DE" noProof="0"/>
              <a:t>Titel hinzufügen</a:t>
            </a:r>
          </a:p>
        </p:txBody>
      </p:sp>
      <p:sp>
        <p:nvSpPr>
          <p:cNvPr id="23" name="Textplatzhalter 10">
            <a:extLst>
              <a:ext uri="{FF2B5EF4-FFF2-40B4-BE49-F238E27FC236}">
                <a16:creationId xmlns:a16="http://schemas.microsoft.com/office/drawing/2014/main" id="{F113CB6D-E397-418B-8738-D96E553ADD2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04911" y="4570546"/>
            <a:ext cx="2118415" cy="332113"/>
          </a:xfrm>
          <a:prstGeom prst="rect">
            <a:avLst/>
          </a:prstGeom>
        </p:spPr>
        <p:txBody>
          <a:bodyPr rtlCol="0" anchor="b">
            <a:normAutofit/>
          </a:bodyPr>
          <a:lstStyle>
            <a:lvl1pPr marL="0" indent="0" algn="ctr">
              <a:buNone/>
              <a:defRPr sz="1400" b="1" cap="all" spc="100" baseline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rtl="0"/>
            <a:r>
              <a:rPr lang="de-DE" noProof="0"/>
              <a:t>Namen hinzufügen</a:t>
            </a:r>
          </a:p>
        </p:txBody>
      </p:sp>
      <p:sp>
        <p:nvSpPr>
          <p:cNvPr id="24" name="Textplatzhalter 10">
            <a:extLst>
              <a:ext uri="{FF2B5EF4-FFF2-40B4-BE49-F238E27FC236}">
                <a16:creationId xmlns:a16="http://schemas.microsoft.com/office/drawing/2014/main" id="{63EA5C1A-BB92-4C5E-BB99-A85B0B0FC49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04911" y="4886780"/>
            <a:ext cx="2118415" cy="531393"/>
          </a:xfrm>
          <a:prstGeom prst="rect">
            <a:avLst/>
          </a:prstGeom>
        </p:spPr>
        <p:txBody>
          <a:bodyPr rtlCol="0" anchor="t">
            <a:normAutofit/>
          </a:bodyPr>
          <a:lstStyle>
            <a:lvl1pPr marL="0" indent="0" algn="ctr">
              <a:buNone/>
              <a:defRPr sz="1200" cap="none" spc="1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 rtl="0"/>
            <a:r>
              <a:rPr lang="de-DE" noProof="0"/>
              <a:t>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52419408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 gesamte 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 1">
            <a:extLst>
              <a:ext uri="{FF2B5EF4-FFF2-40B4-BE49-F238E27FC236}">
                <a16:creationId xmlns:a16="http://schemas.microsoft.com/office/drawing/2014/main" id="{B6B7C369-B3B1-47DB-AFB5-4A2FA0A0469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6EDB6E9-4285-4C1C-9752-2D43D60780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r>
              <a:rPr lang="en-US" noProof="0"/>
              <a:t>Q-Hack 25</a:t>
            </a:r>
            <a:endParaRPr lang="de-DE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52EDB06-237E-4E77-B217-FD0E19A410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r>
              <a:rPr lang="de-DE" noProof="0"/>
              <a:t>disQover Pitch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0BACDA0-CD42-4B14-A524-FF6FF7E28A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A402E4C0-AD5E-4E8C-9F21-7CCE474BDCEB}" type="slidenum">
              <a:rPr lang="de-DE" noProof="0" smtClean="0"/>
              <a:pPr rtl="0"/>
              <a:t>‹#›</a:t>
            </a:fld>
            <a:endParaRPr lang="de-DE" noProof="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C8C5DE79-8AB4-425F-A9CB-B17901806732}"/>
              </a:ext>
            </a:extLst>
          </p:cNvPr>
          <p:cNvSpPr/>
          <p:nvPr userDrawn="1"/>
        </p:nvSpPr>
        <p:spPr>
          <a:xfrm>
            <a:off x="739302" y="739302"/>
            <a:ext cx="10713396" cy="5379396"/>
          </a:xfrm>
          <a:prstGeom prst="rect">
            <a:avLst/>
          </a:prstGeom>
          <a:solidFill>
            <a:schemeClr val="bg2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noProof="0"/>
          </a:p>
        </p:txBody>
      </p:sp>
      <p:sp>
        <p:nvSpPr>
          <p:cNvPr id="31" name="Textplatzhalter 10">
            <a:extLst>
              <a:ext uri="{FF2B5EF4-FFF2-40B4-BE49-F238E27FC236}">
                <a16:creationId xmlns:a16="http://schemas.microsoft.com/office/drawing/2014/main" id="{A8FDD580-B69C-4AF1-9C0C-1CF94ECEB27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418477" y="5098599"/>
            <a:ext cx="2118414" cy="332113"/>
          </a:xfrm>
          <a:prstGeom prst="rect">
            <a:avLst/>
          </a:prstGeom>
        </p:spPr>
        <p:txBody>
          <a:bodyPr rtlCol="0" anchor="b">
            <a:normAutofit/>
          </a:bodyPr>
          <a:lstStyle>
            <a:lvl1pPr marL="0" indent="0" algn="ctr">
              <a:buNone/>
              <a:defRPr sz="1400" b="1" cap="all" spc="100" baseline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rtl="0"/>
            <a:r>
              <a:rPr lang="de-DE" noProof="0"/>
              <a:t>Namen hinzufügen</a:t>
            </a:r>
          </a:p>
        </p:txBody>
      </p:sp>
      <p:sp>
        <p:nvSpPr>
          <p:cNvPr id="32" name="Textplatzhalter 10">
            <a:extLst>
              <a:ext uri="{FF2B5EF4-FFF2-40B4-BE49-F238E27FC236}">
                <a16:creationId xmlns:a16="http://schemas.microsoft.com/office/drawing/2014/main" id="{7A72E08F-5B05-415B-A503-4CED86D11FE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418477" y="5414833"/>
            <a:ext cx="2118414" cy="332113"/>
          </a:xfrm>
          <a:prstGeom prst="rect">
            <a:avLst/>
          </a:prstGeom>
        </p:spPr>
        <p:txBody>
          <a:bodyPr rtlCol="0" anchor="t">
            <a:normAutofit/>
          </a:bodyPr>
          <a:lstStyle>
            <a:lvl1pPr marL="0" indent="0" algn="ctr">
              <a:buNone/>
              <a:defRPr sz="1200" cap="none" spc="1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 rtl="0"/>
            <a:r>
              <a:rPr lang="de-DE" noProof="0"/>
              <a:t>Titel hinzufügen</a:t>
            </a:r>
          </a:p>
        </p:txBody>
      </p:sp>
      <p:sp>
        <p:nvSpPr>
          <p:cNvPr id="36" name="Textplatzhalter 10">
            <a:extLst>
              <a:ext uri="{FF2B5EF4-FFF2-40B4-BE49-F238E27FC236}">
                <a16:creationId xmlns:a16="http://schemas.microsoft.com/office/drawing/2014/main" id="{02D7BE41-1227-4D94-AC6E-F4D00749174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39016" y="5098599"/>
            <a:ext cx="2118414" cy="332113"/>
          </a:xfrm>
          <a:prstGeom prst="rect">
            <a:avLst/>
          </a:prstGeom>
        </p:spPr>
        <p:txBody>
          <a:bodyPr rtlCol="0" anchor="b">
            <a:normAutofit/>
          </a:bodyPr>
          <a:lstStyle>
            <a:lvl1pPr marL="0" indent="0" algn="ctr">
              <a:buNone/>
              <a:defRPr sz="1400" b="1" cap="all" spc="100" baseline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rtl="0"/>
            <a:r>
              <a:rPr lang="de-DE" noProof="0"/>
              <a:t>Namen hinzufügen</a:t>
            </a:r>
          </a:p>
        </p:txBody>
      </p:sp>
      <p:sp>
        <p:nvSpPr>
          <p:cNvPr id="37" name="Textplatzhalter 10">
            <a:extLst>
              <a:ext uri="{FF2B5EF4-FFF2-40B4-BE49-F238E27FC236}">
                <a16:creationId xmlns:a16="http://schemas.microsoft.com/office/drawing/2014/main" id="{C7E8138A-A795-4EF2-B1FF-1A36693A359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839016" y="5414833"/>
            <a:ext cx="2118414" cy="332113"/>
          </a:xfrm>
          <a:prstGeom prst="rect">
            <a:avLst/>
          </a:prstGeom>
        </p:spPr>
        <p:txBody>
          <a:bodyPr rtlCol="0" anchor="t">
            <a:normAutofit/>
          </a:bodyPr>
          <a:lstStyle>
            <a:lvl1pPr marL="0" indent="0" algn="ctr">
              <a:buNone/>
              <a:defRPr sz="1200" cap="none" spc="1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 rtl="0"/>
            <a:r>
              <a:rPr lang="de-DE" noProof="0"/>
              <a:t>Titel hinzufügen</a:t>
            </a:r>
          </a:p>
        </p:txBody>
      </p:sp>
      <p:sp>
        <p:nvSpPr>
          <p:cNvPr id="38" name="Textplatzhalter 10">
            <a:extLst>
              <a:ext uri="{FF2B5EF4-FFF2-40B4-BE49-F238E27FC236}">
                <a16:creationId xmlns:a16="http://schemas.microsoft.com/office/drawing/2014/main" id="{77F66B66-F2E4-439A-A7DF-A9A64B0DF7B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59555" y="5098599"/>
            <a:ext cx="2118414" cy="332113"/>
          </a:xfrm>
          <a:prstGeom prst="rect">
            <a:avLst/>
          </a:prstGeom>
        </p:spPr>
        <p:txBody>
          <a:bodyPr rtlCol="0" anchor="b">
            <a:normAutofit/>
          </a:bodyPr>
          <a:lstStyle>
            <a:lvl1pPr marL="0" indent="0" algn="ctr">
              <a:buNone/>
              <a:defRPr sz="1400" b="1" cap="all" spc="100" baseline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rtl="0"/>
            <a:r>
              <a:rPr lang="de-DE" noProof="0"/>
              <a:t>Namen hinzufügen</a:t>
            </a:r>
          </a:p>
        </p:txBody>
      </p:sp>
      <p:sp>
        <p:nvSpPr>
          <p:cNvPr id="39" name="Textplatzhalter 10">
            <a:extLst>
              <a:ext uri="{FF2B5EF4-FFF2-40B4-BE49-F238E27FC236}">
                <a16:creationId xmlns:a16="http://schemas.microsoft.com/office/drawing/2014/main" id="{13CDFA66-0739-48E3-97B6-F63F13A0A83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59555" y="5414833"/>
            <a:ext cx="2118414" cy="332113"/>
          </a:xfrm>
          <a:prstGeom prst="rect">
            <a:avLst/>
          </a:prstGeom>
        </p:spPr>
        <p:txBody>
          <a:bodyPr rtlCol="0" anchor="t">
            <a:normAutofit/>
          </a:bodyPr>
          <a:lstStyle>
            <a:lvl1pPr marL="0" indent="0" algn="ctr">
              <a:buNone/>
              <a:defRPr sz="1200" cap="none" spc="1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 rtl="0"/>
            <a:r>
              <a:rPr lang="de-DE" noProof="0"/>
              <a:t>Titel hinzufügen</a:t>
            </a:r>
          </a:p>
        </p:txBody>
      </p:sp>
      <p:sp>
        <p:nvSpPr>
          <p:cNvPr id="40" name="Textplatzhalter 10">
            <a:extLst>
              <a:ext uri="{FF2B5EF4-FFF2-40B4-BE49-F238E27FC236}">
                <a16:creationId xmlns:a16="http://schemas.microsoft.com/office/drawing/2014/main" id="{B4EE4B66-F80E-45BB-B2FE-CC11E1FBAF2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80094" y="5098599"/>
            <a:ext cx="2118415" cy="332113"/>
          </a:xfrm>
          <a:prstGeom prst="rect">
            <a:avLst/>
          </a:prstGeom>
        </p:spPr>
        <p:txBody>
          <a:bodyPr rtlCol="0" anchor="b">
            <a:normAutofit/>
          </a:bodyPr>
          <a:lstStyle>
            <a:lvl1pPr marL="0" indent="0" algn="ctr">
              <a:buNone/>
              <a:defRPr sz="1400" b="1" cap="all" spc="100" baseline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rtl="0"/>
            <a:r>
              <a:rPr lang="de-DE" noProof="0"/>
              <a:t>Namen hinzufügen</a:t>
            </a:r>
          </a:p>
        </p:txBody>
      </p:sp>
      <p:sp>
        <p:nvSpPr>
          <p:cNvPr id="41" name="Textplatzhalter 10">
            <a:extLst>
              <a:ext uri="{FF2B5EF4-FFF2-40B4-BE49-F238E27FC236}">
                <a16:creationId xmlns:a16="http://schemas.microsoft.com/office/drawing/2014/main" id="{51F734C1-F867-4FB6-A239-D99ED9E4C54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80094" y="5414833"/>
            <a:ext cx="2118415" cy="332113"/>
          </a:xfrm>
          <a:prstGeom prst="rect">
            <a:avLst/>
          </a:prstGeom>
        </p:spPr>
        <p:txBody>
          <a:bodyPr rtlCol="0" anchor="t">
            <a:normAutofit/>
          </a:bodyPr>
          <a:lstStyle>
            <a:lvl1pPr marL="0" indent="0" algn="ctr">
              <a:buNone/>
              <a:defRPr sz="1200" cap="none" spc="1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 rtl="0"/>
            <a:r>
              <a:rPr lang="de-DE" noProof="0"/>
              <a:t>Titel hinzufügen</a:t>
            </a:r>
          </a:p>
        </p:txBody>
      </p:sp>
      <p:sp>
        <p:nvSpPr>
          <p:cNvPr id="62" name="Bildplatzhalter 9">
            <a:extLst>
              <a:ext uri="{FF2B5EF4-FFF2-40B4-BE49-F238E27FC236}">
                <a16:creationId xmlns:a16="http://schemas.microsoft.com/office/drawing/2014/main" id="{11E88FD1-69BB-4254-81B8-7B383CE8D2D0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2002390" y="2327255"/>
            <a:ext cx="950588" cy="685062"/>
          </a:xfrm>
          <a:prstGeom prst="rect">
            <a:avLst/>
          </a:prstGeom>
        </p:spPr>
        <p:txBody>
          <a:bodyPr rtlCol="0"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pPr rtl="0"/>
            <a:r>
              <a:rPr lang="de-DE" noProof="0"/>
              <a:t>Zum Hinzufügen eines Fotos klicken</a:t>
            </a:r>
          </a:p>
        </p:txBody>
      </p:sp>
      <p:sp>
        <p:nvSpPr>
          <p:cNvPr id="63" name="Textplatzhalter 10">
            <a:extLst>
              <a:ext uri="{FF2B5EF4-FFF2-40B4-BE49-F238E27FC236}">
                <a16:creationId xmlns:a16="http://schemas.microsoft.com/office/drawing/2014/main" id="{E6EBB7F2-ABDB-41F2-8A6B-93196276ABF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418477" y="3263610"/>
            <a:ext cx="2118414" cy="332113"/>
          </a:xfrm>
          <a:prstGeom prst="rect">
            <a:avLst/>
          </a:prstGeom>
        </p:spPr>
        <p:txBody>
          <a:bodyPr rtlCol="0" anchor="b">
            <a:normAutofit/>
          </a:bodyPr>
          <a:lstStyle>
            <a:lvl1pPr marL="0" indent="0" algn="ctr">
              <a:buNone/>
              <a:defRPr sz="1400" b="1" cap="all" spc="100" baseline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rtl="0"/>
            <a:r>
              <a:rPr lang="de-DE" noProof="0"/>
              <a:t>Namen hinzufügen</a:t>
            </a:r>
          </a:p>
        </p:txBody>
      </p:sp>
      <p:sp>
        <p:nvSpPr>
          <p:cNvPr id="64" name="Textplatzhalter 10">
            <a:extLst>
              <a:ext uri="{FF2B5EF4-FFF2-40B4-BE49-F238E27FC236}">
                <a16:creationId xmlns:a16="http://schemas.microsoft.com/office/drawing/2014/main" id="{4D66759F-DBAD-46B4-929C-18F2FB541B0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418477" y="3579845"/>
            <a:ext cx="2118414" cy="390545"/>
          </a:xfrm>
          <a:prstGeom prst="rect">
            <a:avLst/>
          </a:prstGeom>
        </p:spPr>
        <p:txBody>
          <a:bodyPr rtlCol="0" anchor="t">
            <a:normAutofit/>
          </a:bodyPr>
          <a:lstStyle>
            <a:lvl1pPr marL="0" indent="0" algn="ctr">
              <a:buNone/>
              <a:defRPr sz="1200" cap="none" spc="1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 rtl="0"/>
            <a:r>
              <a:rPr lang="de-DE" noProof="0"/>
              <a:t>Titel hinzufügen</a:t>
            </a:r>
          </a:p>
        </p:txBody>
      </p:sp>
      <p:sp>
        <p:nvSpPr>
          <p:cNvPr id="68" name="Textplatzhalter 10">
            <a:extLst>
              <a:ext uri="{FF2B5EF4-FFF2-40B4-BE49-F238E27FC236}">
                <a16:creationId xmlns:a16="http://schemas.microsoft.com/office/drawing/2014/main" id="{07D90C20-BFF7-4D04-AD95-1861DF74509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839016" y="3263610"/>
            <a:ext cx="2118414" cy="332113"/>
          </a:xfrm>
          <a:prstGeom prst="rect">
            <a:avLst/>
          </a:prstGeom>
        </p:spPr>
        <p:txBody>
          <a:bodyPr rtlCol="0" anchor="b">
            <a:normAutofit/>
          </a:bodyPr>
          <a:lstStyle>
            <a:lvl1pPr marL="0" indent="0" algn="ctr">
              <a:buNone/>
              <a:defRPr sz="1400" b="1" cap="all" spc="100" baseline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rtl="0"/>
            <a:r>
              <a:rPr lang="de-DE" noProof="0"/>
              <a:t>Namen hinzufügen</a:t>
            </a:r>
          </a:p>
        </p:txBody>
      </p:sp>
      <p:sp>
        <p:nvSpPr>
          <p:cNvPr id="69" name="Textplatzhalter 10">
            <a:extLst>
              <a:ext uri="{FF2B5EF4-FFF2-40B4-BE49-F238E27FC236}">
                <a16:creationId xmlns:a16="http://schemas.microsoft.com/office/drawing/2014/main" id="{EF54F366-5FD7-4707-A0E3-FAFA53156C29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839016" y="3579845"/>
            <a:ext cx="2118414" cy="390545"/>
          </a:xfrm>
          <a:prstGeom prst="rect">
            <a:avLst/>
          </a:prstGeom>
        </p:spPr>
        <p:txBody>
          <a:bodyPr rtlCol="0" anchor="t">
            <a:normAutofit/>
          </a:bodyPr>
          <a:lstStyle>
            <a:lvl1pPr marL="0" indent="0" algn="ctr">
              <a:buNone/>
              <a:defRPr sz="1200" cap="none" spc="1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 rtl="0"/>
            <a:r>
              <a:rPr lang="de-DE" noProof="0"/>
              <a:t>Titel hinzufügen</a:t>
            </a:r>
          </a:p>
        </p:txBody>
      </p:sp>
      <p:sp>
        <p:nvSpPr>
          <p:cNvPr id="70" name="Textplatzhalter 10">
            <a:extLst>
              <a:ext uri="{FF2B5EF4-FFF2-40B4-BE49-F238E27FC236}">
                <a16:creationId xmlns:a16="http://schemas.microsoft.com/office/drawing/2014/main" id="{A51158F4-509A-44E4-A601-2CD7AEDE738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259555" y="3263610"/>
            <a:ext cx="2118414" cy="332113"/>
          </a:xfrm>
          <a:prstGeom prst="rect">
            <a:avLst/>
          </a:prstGeom>
        </p:spPr>
        <p:txBody>
          <a:bodyPr rtlCol="0" anchor="b">
            <a:normAutofit/>
          </a:bodyPr>
          <a:lstStyle>
            <a:lvl1pPr marL="0" indent="0" algn="ctr">
              <a:buNone/>
              <a:defRPr sz="1400" b="1" cap="all" spc="100" baseline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rtl="0"/>
            <a:r>
              <a:rPr lang="de-DE" noProof="0"/>
              <a:t>Namen hinzufügen</a:t>
            </a:r>
          </a:p>
        </p:txBody>
      </p:sp>
      <p:sp>
        <p:nvSpPr>
          <p:cNvPr id="71" name="Textplatzhalter 10">
            <a:extLst>
              <a:ext uri="{FF2B5EF4-FFF2-40B4-BE49-F238E27FC236}">
                <a16:creationId xmlns:a16="http://schemas.microsoft.com/office/drawing/2014/main" id="{DA9AC8DA-4C66-4D66-9075-59DC95E2AC33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259555" y="3579845"/>
            <a:ext cx="2118414" cy="390545"/>
          </a:xfrm>
          <a:prstGeom prst="rect">
            <a:avLst/>
          </a:prstGeom>
        </p:spPr>
        <p:txBody>
          <a:bodyPr rtlCol="0" anchor="t">
            <a:normAutofit/>
          </a:bodyPr>
          <a:lstStyle>
            <a:lvl1pPr marL="0" indent="0" algn="ctr">
              <a:buNone/>
              <a:defRPr sz="1200" cap="none" spc="1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 rtl="0"/>
            <a:r>
              <a:rPr lang="de-DE" noProof="0"/>
              <a:t>Titel hinzufügen</a:t>
            </a:r>
          </a:p>
        </p:txBody>
      </p:sp>
      <p:sp>
        <p:nvSpPr>
          <p:cNvPr id="72" name="Textplatzhalter 10">
            <a:extLst>
              <a:ext uri="{FF2B5EF4-FFF2-40B4-BE49-F238E27FC236}">
                <a16:creationId xmlns:a16="http://schemas.microsoft.com/office/drawing/2014/main" id="{F3A598D9-D412-4C15-A31C-3A4842B32E1F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680094" y="3263610"/>
            <a:ext cx="2118415" cy="332113"/>
          </a:xfrm>
          <a:prstGeom prst="rect">
            <a:avLst/>
          </a:prstGeom>
        </p:spPr>
        <p:txBody>
          <a:bodyPr rtlCol="0" anchor="b">
            <a:normAutofit/>
          </a:bodyPr>
          <a:lstStyle>
            <a:lvl1pPr marL="0" indent="0" algn="ctr">
              <a:buNone/>
              <a:defRPr sz="1400" b="1" cap="all" spc="100" baseline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rtl="0"/>
            <a:r>
              <a:rPr lang="de-DE" noProof="0"/>
              <a:t>Namen hinzufügen</a:t>
            </a:r>
          </a:p>
        </p:txBody>
      </p:sp>
      <p:sp>
        <p:nvSpPr>
          <p:cNvPr id="73" name="Textplatzhalter 10">
            <a:extLst>
              <a:ext uri="{FF2B5EF4-FFF2-40B4-BE49-F238E27FC236}">
                <a16:creationId xmlns:a16="http://schemas.microsoft.com/office/drawing/2014/main" id="{14A0A9AD-40F7-4203-917C-8BFBF4FCF2C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680094" y="3579845"/>
            <a:ext cx="2118415" cy="390545"/>
          </a:xfrm>
          <a:prstGeom prst="rect">
            <a:avLst/>
          </a:prstGeom>
        </p:spPr>
        <p:txBody>
          <a:bodyPr rtlCol="0" anchor="t">
            <a:normAutofit/>
          </a:bodyPr>
          <a:lstStyle>
            <a:lvl1pPr marL="0" indent="0" algn="ctr">
              <a:buNone/>
              <a:defRPr sz="1200" cap="none" spc="1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 rtl="0"/>
            <a:r>
              <a:rPr lang="de-DE" noProof="0"/>
              <a:t>Titel hinzufügen</a:t>
            </a: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129E220D-4268-4E0B-B292-D87F92DF6ED3}"/>
              </a:ext>
            </a:extLst>
          </p:cNvPr>
          <p:cNvSpPr/>
          <p:nvPr userDrawn="1"/>
        </p:nvSpPr>
        <p:spPr>
          <a:xfrm>
            <a:off x="1947081" y="2272648"/>
            <a:ext cx="1061206" cy="794276"/>
          </a:xfrm>
          <a:prstGeom prst="rect">
            <a:avLst/>
          </a:prstGeom>
          <a:noFill/>
          <a:ln w="254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noProof="0"/>
          </a:p>
        </p:txBody>
      </p:sp>
      <p:sp>
        <p:nvSpPr>
          <p:cNvPr id="78" name="Bildplatzhalter 9">
            <a:extLst>
              <a:ext uri="{FF2B5EF4-FFF2-40B4-BE49-F238E27FC236}">
                <a16:creationId xmlns:a16="http://schemas.microsoft.com/office/drawing/2014/main" id="{2DB6BDC2-D18B-4AF7-9B33-2FB86D67A64A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2002390" y="4154796"/>
            <a:ext cx="950588" cy="685062"/>
          </a:xfrm>
          <a:prstGeom prst="rect">
            <a:avLst/>
          </a:prstGeom>
        </p:spPr>
        <p:txBody>
          <a:bodyPr rtlCol="0"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pPr rtl="0"/>
            <a:r>
              <a:rPr lang="de-DE" noProof="0"/>
              <a:t>Zum Hinzufügen eines Fotos klicken</a:t>
            </a: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CB9D855A-B11D-44DC-BBE1-7BA68BD18E68}"/>
              </a:ext>
            </a:extLst>
          </p:cNvPr>
          <p:cNvSpPr/>
          <p:nvPr userDrawn="1"/>
        </p:nvSpPr>
        <p:spPr>
          <a:xfrm>
            <a:off x="1947081" y="4100189"/>
            <a:ext cx="1061206" cy="794276"/>
          </a:xfrm>
          <a:prstGeom prst="rect">
            <a:avLst/>
          </a:prstGeom>
          <a:noFill/>
          <a:ln w="254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noProof="0"/>
          </a:p>
        </p:txBody>
      </p:sp>
      <p:sp>
        <p:nvSpPr>
          <p:cNvPr id="80" name="Bildplatzhalter 9">
            <a:extLst>
              <a:ext uri="{FF2B5EF4-FFF2-40B4-BE49-F238E27FC236}">
                <a16:creationId xmlns:a16="http://schemas.microsoft.com/office/drawing/2014/main" id="{D12B69C6-4468-4017-A141-0864B9065E88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4422929" y="2319234"/>
            <a:ext cx="950588" cy="685062"/>
          </a:xfrm>
          <a:prstGeom prst="rect">
            <a:avLst/>
          </a:prstGeom>
        </p:spPr>
        <p:txBody>
          <a:bodyPr rtlCol="0"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pPr rtl="0"/>
            <a:r>
              <a:rPr lang="de-DE" noProof="0"/>
              <a:t>Zum Hinzufügen eines Fotos klicken</a:t>
            </a: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E874C203-B833-4D0D-9674-D25DFA3F9606}"/>
              </a:ext>
            </a:extLst>
          </p:cNvPr>
          <p:cNvSpPr/>
          <p:nvPr userDrawn="1"/>
        </p:nvSpPr>
        <p:spPr>
          <a:xfrm>
            <a:off x="4367620" y="2264627"/>
            <a:ext cx="1061206" cy="794276"/>
          </a:xfrm>
          <a:prstGeom prst="rect">
            <a:avLst/>
          </a:prstGeom>
          <a:noFill/>
          <a:ln w="254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noProof="0"/>
          </a:p>
        </p:txBody>
      </p:sp>
      <p:sp>
        <p:nvSpPr>
          <p:cNvPr id="82" name="Bildplatzhalter 9">
            <a:extLst>
              <a:ext uri="{FF2B5EF4-FFF2-40B4-BE49-F238E27FC236}">
                <a16:creationId xmlns:a16="http://schemas.microsoft.com/office/drawing/2014/main" id="{0B83E94D-7A2E-4F82-9F6F-414BB1EE1F9D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4422929" y="4146775"/>
            <a:ext cx="950588" cy="685062"/>
          </a:xfrm>
          <a:prstGeom prst="rect">
            <a:avLst/>
          </a:prstGeom>
        </p:spPr>
        <p:txBody>
          <a:bodyPr rtlCol="0"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pPr rtl="0"/>
            <a:r>
              <a:rPr lang="de-DE" noProof="0"/>
              <a:t>Zum Hinzufügen eines Fotos klicken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454DE692-CD53-4D36-9E21-EDBFA9779183}"/>
              </a:ext>
            </a:extLst>
          </p:cNvPr>
          <p:cNvSpPr/>
          <p:nvPr userDrawn="1"/>
        </p:nvSpPr>
        <p:spPr>
          <a:xfrm>
            <a:off x="4367620" y="4092168"/>
            <a:ext cx="1061206" cy="794276"/>
          </a:xfrm>
          <a:prstGeom prst="rect">
            <a:avLst/>
          </a:prstGeom>
          <a:noFill/>
          <a:ln w="254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noProof="0"/>
          </a:p>
        </p:txBody>
      </p:sp>
      <p:sp>
        <p:nvSpPr>
          <p:cNvPr id="84" name="Bildplatzhalter 9">
            <a:extLst>
              <a:ext uri="{FF2B5EF4-FFF2-40B4-BE49-F238E27FC236}">
                <a16:creationId xmlns:a16="http://schemas.microsoft.com/office/drawing/2014/main" id="{722A2533-C7FE-4FF8-88EA-CC5A72E587E0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6843468" y="2323944"/>
            <a:ext cx="950588" cy="685062"/>
          </a:xfrm>
          <a:prstGeom prst="rect">
            <a:avLst/>
          </a:prstGeom>
        </p:spPr>
        <p:txBody>
          <a:bodyPr rtlCol="0"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pPr rtl="0"/>
            <a:r>
              <a:rPr lang="de-DE" noProof="0"/>
              <a:t>Zum Hinzufügen eines Fotos klicken</a:t>
            </a: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60564730-564F-4992-974D-020B105689EE}"/>
              </a:ext>
            </a:extLst>
          </p:cNvPr>
          <p:cNvSpPr/>
          <p:nvPr userDrawn="1"/>
        </p:nvSpPr>
        <p:spPr>
          <a:xfrm>
            <a:off x="6788159" y="2269337"/>
            <a:ext cx="1061206" cy="794276"/>
          </a:xfrm>
          <a:prstGeom prst="rect">
            <a:avLst/>
          </a:prstGeom>
          <a:noFill/>
          <a:ln w="254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noProof="0"/>
          </a:p>
        </p:txBody>
      </p:sp>
      <p:sp>
        <p:nvSpPr>
          <p:cNvPr id="86" name="Bildplatzhalter 9">
            <a:extLst>
              <a:ext uri="{FF2B5EF4-FFF2-40B4-BE49-F238E27FC236}">
                <a16:creationId xmlns:a16="http://schemas.microsoft.com/office/drawing/2014/main" id="{3FF1C129-85E6-40AA-8026-14C47F0F038C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6843468" y="4151485"/>
            <a:ext cx="950588" cy="685062"/>
          </a:xfrm>
          <a:prstGeom prst="rect">
            <a:avLst/>
          </a:prstGeom>
        </p:spPr>
        <p:txBody>
          <a:bodyPr rtlCol="0"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pPr rtl="0"/>
            <a:r>
              <a:rPr lang="de-DE" noProof="0"/>
              <a:t>Zum Hinzufügen eines Fotos klicken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3E7D63A3-3C58-4F80-B353-C26650B97F55}"/>
              </a:ext>
            </a:extLst>
          </p:cNvPr>
          <p:cNvSpPr/>
          <p:nvPr userDrawn="1"/>
        </p:nvSpPr>
        <p:spPr>
          <a:xfrm>
            <a:off x="6788159" y="4096878"/>
            <a:ext cx="1061206" cy="794276"/>
          </a:xfrm>
          <a:prstGeom prst="rect">
            <a:avLst/>
          </a:prstGeom>
          <a:noFill/>
          <a:ln w="254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noProof="0"/>
          </a:p>
        </p:txBody>
      </p:sp>
      <p:sp>
        <p:nvSpPr>
          <p:cNvPr id="88" name="Bildplatzhalter 9">
            <a:extLst>
              <a:ext uri="{FF2B5EF4-FFF2-40B4-BE49-F238E27FC236}">
                <a16:creationId xmlns:a16="http://schemas.microsoft.com/office/drawing/2014/main" id="{C78943C0-07AD-428D-A010-64CDDC815654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9264007" y="2315923"/>
            <a:ext cx="950588" cy="685062"/>
          </a:xfrm>
          <a:prstGeom prst="rect">
            <a:avLst/>
          </a:prstGeom>
        </p:spPr>
        <p:txBody>
          <a:bodyPr rtlCol="0"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pPr rtl="0"/>
            <a:r>
              <a:rPr lang="de-DE" noProof="0"/>
              <a:t>Zum Hinzufügen eines Fotos klicken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44D0D2B8-EB2F-407A-A7DF-29BF878D0C97}"/>
              </a:ext>
            </a:extLst>
          </p:cNvPr>
          <p:cNvSpPr/>
          <p:nvPr userDrawn="1"/>
        </p:nvSpPr>
        <p:spPr>
          <a:xfrm>
            <a:off x="9208698" y="2261316"/>
            <a:ext cx="1061206" cy="794276"/>
          </a:xfrm>
          <a:prstGeom prst="rect">
            <a:avLst/>
          </a:prstGeom>
          <a:noFill/>
          <a:ln w="254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noProof="0"/>
          </a:p>
        </p:txBody>
      </p:sp>
      <p:sp>
        <p:nvSpPr>
          <p:cNvPr id="90" name="Bildplatzhalter 9">
            <a:extLst>
              <a:ext uri="{FF2B5EF4-FFF2-40B4-BE49-F238E27FC236}">
                <a16:creationId xmlns:a16="http://schemas.microsoft.com/office/drawing/2014/main" id="{9F5D0399-2186-4D0F-B2B6-FB29536013E2}"/>
              </a:ext>
            </a:extLst>
          </p:cNvPr>
          <p:cNvSpPr>
            <a:spLocks noGrp="1"/>
          </p:cNvSpPr>
          <p:nvPr>
            <p:ph type="pic" sz="quarter" idx="47" hasCustomPrompt="1"/>
          </p:nvPr>
        </p:nvSpPr>
        <p:spPr>
          <a:xfrm>
            <a:off x="9264007" y="4143464"/>
            <a:ext cx="950588" cy="685062"/>
          </a:xfrm>
          <a:prstGeom prst="rect">
            <a:avLst/>
          </a:prstGeom>
        </p:spPr>
        <p:txBody>
          <a:bodyPr rtlCol="0"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pPr rtl="0"/>
            <a:r>
              <a:rPr lang="de-DE" noProof="0"/>
              <a:t>Zum Hinzufügen eines Fotos klicken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A161A1AC-702C-4209-BE7C-E51F7434B5B5}"/>
              </a:ext>
            </a:extLst>
          </p:cNvPr>
          <p:cNvSpPr/>
          <p:nvPr userDrawn="1"/>
        </p:nvSpPr>
        <p:spPr>
          <a:xfrm>
            <a:off x="9208698" y="4088857"/>
            <a:ext cx="1061206" cy="794276"/>
          </a:xfrm>
          <a:prstGeom prst="rect">
            <a:avLst/>
          </a:prstGeom>
          <a:noFill/>
          <a:ln w="254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noProof="0"/>
          </a:p>
        </p:txBody>
      </p:sp>
      <p:sp>
        <p:nvSpPr>
          <p:cNvPr id="42" name="Titel 1">
            <a:extLst>
              <a:ext uri="{FF2B5EF4-FFF2-40B4-BE49-F238E27FC236}">
                <a16:creationId xmlns:a16="http://schemas.microsoft.com/office/drawing/2014/main" id="{8ADA00ED-298B-444A-A7F5-508EDBA56F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52698" y="1187753"/>
            <a:ext cx="7286604" cy="634323"/>
          </a:xfrm>
        </p:spPr>
        <p:txBody>
          <a:bodyPr rtlCol="0" anchor="t">
            <a:normAutofit/>
          </a:bodyPr>
          <a:lstStyle>
            <a:lvl1pPr algn="ctr">
              <a:lnSpc>
                <a:spcPct val="125000"/>
              </a:lnSpc>
              <a:defRPr sz="2800"/>
            </a:lvl1pPr>
          </a:lstStyle>
          <a:p>
            <a:pPr rtl="0"/>
            <a:r>
              <a:rPr lang="de-DE" noProof="0"/>
              <a:t>Titel durch Klicken hinzufügen</a:t>
            </a:r>
          </a:p>
        </p:txBody>
      </p:sp>
    </p:spTree>
    <p:extLst>
      <p:ext uri="{BB962C8B-B14F-4D97-AF65-F5344CB8AC3E}">
        <p14:creationId xmlns:p14="http://schemas.microsoft.com/office/powerpoint/2010/main" val="19778866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nzier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 1">
            <a:extLst>
              <a:ext uri="{FF2B5EF4-FFF2-40B4-BE49-F238E27FC236}">
                <a16:creationId xmlns:a16="http://schemas.microsoft.com/office/drawing/2014/main" id="{DFBC2989-2CED-47FB-8D23-FF60F2561EA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A429704-4AB7-47AB-8C1F-4C2E4C99A1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r>
              <a:rPr lang="en-US" noProof="0"/>
              <a:t>Q-Hack 25</a:t>
            </a:r>
            <a:endParaRPr lang="de-DE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0348280-3106-454C-9D69-9BD1267B18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r>
              <a:rPr lang="de-DE" noProof="0"/>
              <a:t>disQover Pitch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9426433-6916-408B-BE80-EB35C69307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A402E4C0-AD5E-4E8C-9F21-7CCE474BDCEB}" type="slidenum">
              <a:rPr lang="de-DE" noProof="0" smtClean="0"/>
              <a:pPr rtl="0"/>
              <a:t>‹#›</a:t>
            </a:fld>
            <a:endParaRPr lang="de-DE" noProof="0"/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137D1BF6-CA32-48D3-B8AE-5D5C621A7EB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>
              <a:lumMod val="50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noProof="0"/>
          </a:p>
        </p:txBody>
      </p:sp>
      <p:sp>
        <p:nvSpPr>
          <p:cNvPr id="19" name="Textplatzhalter 14">
            <a:extLst>
              <a:ext uri="{FF2B5EF4-FFF2-40B4-BE49-F238E27FC236}">
                <a16:creationId xmlns:a16="http://schemas.microsoft.com/office/drawing/2014/main" id="{F57E488F-AD89-4213-9093-5646DF323A2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00511" y="4114240"/>
            <a:ext cx="2382386" cy="613702"/>
          </a:xfrm>
          <a:prstGeom prst="rect">
            <a:avLst/>
          </a:prstGeom>
        </p:spPr>
        <p:txBody>
          <a:bodyPr rtlCol="0" anchor="b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spc="200" baseline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rtl="0"/>
            <a:r>
              <a:rPr lang="de-DE" noProof="0"/>
              <a:t>Titel durch Klicken hinzufügen</a:t>
            </a:r>
          </a:p>
        </p:txBody>
      </p:sp>
      <p:sp>
        <p:nvSpPr>
          <p:cNvPr id="20" name="Textplatzhalter 14">
            <a:extLst>
              <a:ext uri="{FF2B5EF4-FFF2-40B4-BE49-F238E27FC236}">
                <a16:creationId xmlns:a16="http://schemas.microsoft.com/office/drawing/2014/main" id="{E31C9DEB-43A3-4514-9EB8-2CE147497B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00511" y="4733168"/>
            <a:ext cx="2382386" cy="857935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 algn="ctr">
              <a:lnSpc>
                <a:spcPct val="125000"/>
              </a:lnSpc>
              <a:spcBef>
                <a:spcPts val="0"/>
              </a:spcBef>
              <a:buNone/>
              <a:defRPr sz="1400" cap="none" spc="10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 rtl="0"/>
            <a:r>
              <a:rPr lang="de-DE" noProof="0"/>
              <a:t>Klicken Sie, um Text hinzuzufügen.</a:t>
            </a:r>
          </a:p>
        </p:txBody>
      </p:sp>
      <p:sp>
        <p:nvSpPr>
          <p:cNvPr id="21" name="Textplatzhalter 14">
            <a:extLst>
              <a:ext uri="{FF2B5EF4-FFF2-40B4-BE49-F238E27FC236}">
                <a16:creationId xmlns:a16="http://schemas.microsoft.com/office/drawing/2014/main" id="{254EC399-E62D-401A-936C-2B26F8265F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84039" y="4114240"/>
            <a:ext cx="2382386" cy="613702"/>
          </a:xfrm>
          <a:prstGeom prst="rect">
            <a:avLst/>
          </a:prstGeom>
        </p:spPr>
        <p:txBody>
          <a:bodyPr rtlCol="0" anchor="b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spc="200" baseline="0">
                <a:solidFill>
                  <a:schemeClr val="accent3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rtl="0"/>
            <a:r>
              <a:rPr lang="de-DE" noProof="0"/>
              <a:t>Titel durch Klicken hinzufügen</a:t>
            </a:r>
          </a:p>
        </p:txBody>
      </p:sp>
      <p:sp>
        <p:nvSpPr>
          <p:cNvPr id="22" name="Textplatzhalter 14">
            <a:extLst>
              <a:ext uri="{FF2B5EF4-FFF2-40B4-BE49-F238E27FC236}">
                <a16:creationId xmlns:a16="http://schemas.microsoft.com/office/drawing/2014/main" id="{4F49DC18-7C09-4FFC-98BF-DC17FCE6223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84039" y="4733168"/>
            <a:ext cx="2382386" cy="857935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 algn="ctr">
              <a:lnSpc>
                <a:spcPct val="125000"/>
              </a:lnSpc>
              <a:spcBef>
                <a:spcPts val="0"/>
              </a:spcBef>
              <a:buNone/>
              <a:defRPr sz="1400" cap="none" spc="10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 rtl="0"/>
            <a:r>
              <a:rPr lang="de-DE" noProof="0"/>
              <a:t>Klicken Sie, um Text hinzuzufügen.</a:t>
            </a:r>
          </a:p>
        </p:txBody>
      </p:sp>
      <p:sp>
        <p:nvSpPr>
          <p:cNvPr id="23" name="Textplatzhalter 14">
            <a:extLst>
              <a:ext uri="{FF2B5EF4-FFF2-40B4-BE49-F238E27FC236}">
                <a16:creationId xmlns:a16="http://schemas.microsoft.com/office/drawing/2014/main" id="{9D21F281-5009-4E28-B34E-218C36B33AB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67567" y="4114240"/>
            <a:ext cx="2382386" cy="613702"/>
          </a:xfrm>
          <a:prstGeom prst="rect">
            <a:avLst/>
          </a:prstGeom>
        </p:spPr>
        <p:txBody>
          <a:bodyPr rtlCol="0" anchor="b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spc="200" baseline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rtl="0"/>
            <a:r>
              <a:rPr lang="de-DE" noProof="0"/>
              <a:t>Titel durch Klicken hinzufügen</a:t>
            </a:r>
          </a:p>
        </p:txBody>
      </p:sp>
      <p:sp>
        <p:nvSpPr>
          <p:cNvPr id="24" name="Textplatzhalter 14">
            <a:extLst>
              <a:ext uri="{FF2B5EF4-FFF2-40B4-BE49-F238E27FC236}">
                <a16:creationId xmlns:a16="http://schemas.microsoft.com/office/drawing/2014/main" id="{75C2A3FB-F206-4ED3-A8BF-712D66D52D2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67567" y="4733168"/>
            <a:ext cx="2382386" cy="857935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 algn="ctr">
              <a:lnSpc>
                <a:spcPct val="125000"/>
              </a:lnSpc>
              <a:spcBef>
                <a:spcPts val="0"/>
              </a:spcBef>
              <a:buNone/>
              <a:defRPr sz="1400" cap="none" spc="10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 rtl="0"/>
            <a:r>
              <a:rPr lang="de-DE" noProof="0"/>
              <a:t>Klicken Sie, um Text hinzuzufügen.</a:t>
            </a:r>
          </a:p>
        </p:txBody>
      </p:sp>
      <p:sp>
        <p:nvSpPr>
          <p:cNvPr id="25" name="Textplatzhalter 14">
            <a:extLst>
              <a:ext uri="{FF2B5EF4-FFF2-40B4-BE49-F238E27FC236}">
                <a16:creationId xmlns:a16="http://schemas.microsoft.com/office/drawing/2014/main" id="{433D1544-1248-444D-B0AC-C5B22E1D263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951094" y="4114240"/>
            <a:ext cx="2382386" cy="613702"/>
          </a:xfrm>
          <a:prstGeom prst="rect">
            <a:avLst/>
          </a:prstGeom>
        </p:spPr>
        <p:txBody>
          <a:bodyPr rtlCol="0" anchor="b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spc="200" baseline="0">
                <a:solidFill>
                  <a:schemeClr val="accent2">
                    <a:lumMod val="20000"/>
                    <a:lumOff val="8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rtl="0"/>
            <a:r>
              <a:rPr lang="de-DE" noProof="0"/>
              <a:t>Titel durch Klicken hinzufügen</a:t>
            </a:r>
          </a:p>
        </p:txBody>
      </p:sp>
      <p:sp>
        <p:nvSpPr>
          <p:cNvPr id="26" name="Textplatzhalter 14">
            <a:extLst>
              <a:ext uri="{FF2B5EF4-FFF2-40B4-BE49-F238E27FC236}">
                <a16:creationId xmlns:a16="http://schemas.microsoft.com/office/drawing/2014/main" id="{9F4FDF38-0969-49B5-BE15-AB7D41B68D2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951094" y="4733168"/>
            <a:ext cx="2382386" cy="857935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 algn="ctr">
              <a:lnSpc>
                <a:spcPct val="125000"/>
              </a:lnSpc>
              <a:spcBef>
                <a:spcPts val="0"/>
              </a:spcBef>
              <a:buNone/>
              <a:defRPr sz="1400" cap="none" spc="10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 rtl="0"/>
            <a:r>
              <a:rPr lang="de-DE" noProof="0"/>
              <a:t>Klicken Sie, um Text hinzuzufügen.</a:t>
            </a:r>
          </a:p>
        </p:txBody>
      </p:sp>
      <p:sp>
        <p:nvSpPr>
          <p:cNvPr id="27" name="Textplatzhalter 10">
            <a:extLst>
              <a:ext uri="{FF2B5EF4-FFF2-40B4-BE49-F238E27FC236}">
                <a16:creationId xmlns:a16="http://schemas.microsoft.com/office/drawing/2014/main" id="{A749E3E6-EB0F-4108-9196-2A2DDD63E22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85758" y="2399173"/>
            <a:ext cx="1611892" cy="1151632"/>
          </a:xfrm>
          <a:prstGeom prst="rect">
            <a:avLst/>
          </a:prstGeom>
        </p:spPr>
        <p:txBody>
          <a:bodyPr rtlCol="0" anchor="ctr"/>
          <a:lstStyle>
            <a:lvl1pPr marL="0" indent="0" algn="ctr">
              <a:lnSpc>
                <a:spcPct val="80000"/>
              </a:lnSpc>
              <a:spcBef>
                <a:spcPts val="1000"/>
              </a:spcBef>
              <a:spcAft>
                <a:spcPts val="0"/>
              </a:spcAft>
              <a:buNone/>
              <a:defRPr sz="2800" b="1" cap="all" spc="100" baseline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rtl="0"/>
            <a:r>
              <a:rPr lang="de-DE" noProof="0"/>
              <a:t>Titel hinzufügen</a:t>
            </a:r>
          </a:p>
        </p:txBody>
      </p:sp>
      <p:sp>
        <p:nvSpPr>
          <p:cNvPr id="28" name="Textplatzhalter 10">
            <a:extLst>
              <a:ext uri="{FF2B5EF4-FFF2-40B4-BE49-F238E27FC236}">
                <a16:creationId xmlns:a16="http://schemas.microsoft.com/office/drawing/2014/main" id="{CA8E4A5D-4A2C-4FCA-9886-11A6692866A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652814" y="2399173"/>
            <a:ext cx="1611892" cy="1151632"/>
          </a:xfrm>
          <a:prstGeom prst="rect">
            <a:avLst/>
          </a:prstGeom>
        </p:spPr>
        <p:txBody>
          <a:bodyPr rtlCol="0" anchor="ctr"/>
          <a:lstStyle>
            <a:lvl1pPr marL="0" indent="0" algn="ctr">
              <a:lnSpc>
                <a:spcPct val="80000"/>
              </a:lnSpc>
              <a:spcBef>
                <a:spcPts val="1000"/>
              </a:spcBef>
              <a:buNone/>
              <a:defRPr sz="2800" b="1" cap="all" spc="100" baseline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rtl="0"/>
            <a:r>
              <a:rPr lang="de-DE" noProof="0"/>
              <a:t>Titel hinzufügen</a:t>
            </a:r>
          </a:p>
        </p:txBody>
      </p:sp>
      <p:sp>
        <p:nvSpPr>
          <p:cNvPr id="29" name="Textplatzhalter 10">
            <a:extLst>
              <a:ext uri="{FF2B5EF4-FFF2-40B4-BE49-F238E27FC236}">
                <a16:creationId xmlns:a16="http://schemas.microsoft.com/office/drawing/2014/main" id="{D12F1290-6B4C-49B8-BC26-3B433534C3F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336341" y="2399173"/>
            <a:ext cx="1611892" cy="1151632"/>
          </a:xfrm>
          <a:prstGeom prst="rect">
            <a:avLst/>
          </a:prstGeom>
        </p:spPr>
        <p:txBody>
          <a:bodyPr rtlCol="0" anchor="ctr"/>
          <a:lstStyle>
            <a:lvl1pPr marL="0" indent="0" algn="ctr">
              <a:lnSpc>
                <a:spcPct val="80000"/>
              </a:lnSpc>
              <a:spcBef>
                <a:spcPts val="1000"/>
              </a:spcBef>
              <a:buNone/>
              <a:defRPr sz="2800" b="1" cap="all" spc="100" baseline="0">
                <a:solidFill>
                  <a:schemeClr val="accent2">
                    <a:lumMod val="20000"/>
                    <a:lumOff val="8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rtl="0"/>
            <a:r>
              <a:rPr lang="de-DE" noProof="0"/>
              <a:t>Titel hinzufügen</a:t>
            </a:r>
          </a:p>
        </p:txBody>
      </p:sp>
      <p:sp>
        <p:nvSpPr>
          <p:cNvPr id="30" name="Textplatzhalter 10">
            <a:extLst>
              <a:ext uri="{FF2B5EF4-FFF2-40B4-BE49-F238E27FC236}">
                <a16:creationId xmlns:a16="http://schemas.microsoft.com/office/drawing/2014/main" id="{0E60E704-AD01-4048-8D70-3F4CA25DA63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969286" y="2399173"/>
            <a:ext cx="1611892" cy="1151632"/>
          </a:xfrm>
          <a:prstGeom prst="rect">
            <a:avLst/>
          </a:prstGeom>
        </p:spPr>
        <p:txBody>
          <a:bodyPr rtlCol="0" anchor="ctr"/>
          <a:lstStyle>
            <a:lvl1pPr marL="0" indent="0" algn="ctr">
              <a:lnSpc>
                <a:spcPct val="80000"/>
              </a:lnSpc>
              <a:spcBef>
                <a:spcPts val="1000"/>
              </a:spcBef>
              <a:buNone/>
              <a:defRPr sz="2800" b="1" cap="all" spc="100" baseline="0">
                <a:solidFill>
                  <a:schemeClr val="accent3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rtl="0"/>
            <a:r>
              <a:rPr lang="de-DE" noProof="0"/>
              <a:t>Titel hinzufügen</a:t>
            </a:r>
          </a:p>
        </p:txBody>
      </p:sp>
      <p:sp>
        <p:nvSpPr>
          <p:cNvPr id="31" name="Titel 1">
            <a:extLst>
              <a:ext uri="{FF2B5EF4-FFF2-40B4-BE49-F238E27FC236}">
                <a16:creationId xmlns:a16="http://schemas.microsoft.com/office/drawing/2014/main" id="{4CB251EF-EB2B-4D32-A321-FEC37EAB8D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93750" y="715939"/>
            <a:ext cx="4864608" cy="365760"/>
          </a:xfrm>
        </p:spPr>
        <p:txBody>
          <a:bodyPr rtlCol="0" anchor="t">
            <a:noAutofit/>
          </a:bodyPr>
          <a:lstStyle>
            <a:lvl1pPr>
              <a:defRPr sz="2800">
                <a:ln w="19050">
                  <a:solidFill>
                    <a:schemeClr val="bg1"/>
                  </a:solidFill>
                </a:ln>
              </a:defRPr>
            </a:lvl1pPr>
          </a:lstStyle>
          <a:p>
            <a:pPr rtl="0"/>
            <a:r>
              <a:rPr lang="de-DE" noProof="0"/>
              <a:t>Titel durch Klicken hinzufügen</a:t>
            </a:r>
          </a:p>
        </p:txBody>
      </p:sp>
    </p:spTree>
    <p:extLst>
      <p:ext uri="{BB962C8B-B14F-4D97-AF65-F5344CB8AC3E}">
        <p14:creationId xmlns:p14="http://schemas.microsoft.com/office/powerpoint/2010/main" val="377917327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usammenfass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7">
            <a:extLst>
              <a:ext uri="{FF2B5EF4-FFF2-40B4-BE49-F238E27FC236}">
                <a16:creationId xmlns:a16="http://schemas.microsoft.com/office/drawing/2014/main" id="{D2CF4D42-6C74-47FD-8195-943D55ADA87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</p:spPr>
        <p:txBody>
          <a:bodyPr rtlCol="0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rtl="0"/>
            <a:r>
              <a:rPr lang="de-DE" noProof="0"/>
              <a:t>Zum Hinzufügen eines Fotos klick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59275658-2C01-4217-AE99-DF0FDFFE43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r>
              <a:rPr lang="en-US" noProof="0"/>
              <a:t>Q-Hack 25</a:t>
            </a:r>
            <a:endParaRPr lang="de-DE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F913D93-CECF-4647-8DC2-8F7DD04E74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r>
              <a:rPr lang="de-DE" noProof="0"/>
              <a:t>disQover Pitch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3C60507-1EAA-4632-9D67-1BD599F4F5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A402E4C0-AD5E-4E8C-9F21-7CCE474BDCEB}" type="slidenum">
              <a:rPr lang="de-DE" noProof="0" smtClean="0"/>
              <a:pPr rtl="0"/>
              <a:t>‹#›</a:t>
            </a:fld>
            <a:endParaRPr lang="de-DE" noProof="0"/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2754639B-AD71-425C-BF07-356C0F14C9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1353381"/>
            <a:ext cx="5622878" cy="4151236"/>
          </a:xfrm>
          <a:solidFill>
            <a:schemeClr val="accent3">
              <a:alpha val="90000"/>
            </a:schemeClr>
          </a:solidFill>
        </p:spPr>
        <p:txBody>
          <a:bodyPr vert="horz" lIns="649224" tIns="749808" rIns="91440" bIns="45720" rtlCol="0" anchor="t">
            <a:noAutofit/>
          </a:bodyPr>
          <a:lstStyle>
            <a:lvl1pPr>
              <a:defRPr lang="en-US" sz="2800">
                <a:ln w="19050">
                  <a:solidFill>
                    <a:schemeClr val="bg1"/>
                  </a:solidFill>
                </a:ln>
                <a:ea typeface="+mn-ea"/>
                <a:cs typeface="+mn-cs"/>
              </a:defRPr>
            </a:lvl1pPr>
          </a:lstStyle>
          <a:p>
            <a:pPr marL="0" lvl="0" indent="0" rtl="0">
              <a:spcBef>
                <a:spcPts val="0"/>
              </a:spcBef>
              <a:buFont typeface="Arial" panose="020B0604020202020204" pitchFamily="34" charset="0"/>
            </a:pPr>
            <a:r>
              <a:rPr lang="de-DE" noProof="0"/>
              <a:t>Titel durch Klicken hinzufügen</a:t>
            </a:r>
          </a:p>
        </p:txBody>
      </p:sp>
      <p:sp>
        <p:nvSpPr>
          <p:cNvPr id="8" name="Textplatzhalter 17">
            <a:extLst>
              <a:ext uri="{FF2B5EF4-FFF2-40B4-BE49-F238E27FC236}">
                <a16:creationId xmlns:a16="http://schemas.microsoft.com/office/drawing/2014/main" id="{64CF3C46-90B8-467D-9D50-086B9135701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7993" y="2689071"/>
            <a:ext cx="4567209" cy="2212496"/>
          </a:xfrm>
        </p:spPr>
        <p:txBody>
          <a:bodyPr rtlCol="0">
            <a:noAutofit/>
          </a:bodyPr>
          <a:lstStyle>
            <a:lvl1pPr marL="0" indent="0" algn="l">
              <a:lnSpc>
                <a:spcPct val="125000"/>
              </a:lnSpc>
              <a:buNone/>
              <a:defRPr sz="1400" spc="100" baseline="0">
                <a:solidFill>
                  <a:schemeClr val="bg1"/>
                </a:solidFill>
              </a:defRPr>
            </a:lvl1pPr>
          </a:lstStyle>
          <a:p>
            <a:pPr lvl="0" rtl="0"/>
            <a:r>
              <a:rPr lang="de-DE" noProof="0"/>
              <a:t>Klicken Sie, um Text hinzuzufügen.</a:t>
            </a:r>
          </a:p>
        </p:txBody>
      </p:sp>
    </p:spTree>
    <p:extLst>
      <p:ext uri="{BB962C8B-B14F-4D97-AF65-F5344CB8AC3E}">
        <p14:creationId xmlns:p14="http://schemas.microsoft.com/office/powerpoint/2010/main" val="217180302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len Dan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7">
            <a:extLst>
              <a:ext uri="{FF2B5EF4-FFF2-40B4-BE49-F238E27FC236}">
                <a16:creationId xmlns:a16="http://schemas.microsoft.com/office/drawing/2014/main" id="{10B86B2D-56E1-4FB2-8CC9-DBC6C0B6EB0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 flipH="1">
            <a:off x="0" y="0"/>
            <a:ext cx="8153400" cy="6858000"/>
          </a:xfrm>
        </p:spPr>
        <p:txBody>
          <a:bodyPr rtlCol="0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rtl="0"/>
            <a:r>
              <a:rPr lang="de-DE" noProof="0"/>
              <a:t>Zum Hinzufügen eines Fotos klicken</a:t>
            </a:r>
          </a:p>
        </p:txBody>
      </p:sp>
      <p:sp>
        <p:nvSpPr>
          <p:cNvPr id="8" name="Textplatzhalter 17">
            <a:extLst>
              <a:ext uri="{FF2B5EF4-FFF2-40B4-BE49-F238E27FC236}">
                <a16:creationId xmlns:a16="http://schemas.microsoft.com/office/drawing/2014/main" id="{1D70C38F-1ABB-4C86-972A-E388226700C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465112" y="2326705"/>
            <a:ext cx="4114592" cy="2212496"/>
          </a:xfrm>
        </p:spPr>
        <p:txBody>
          <a:bodyPr rtlCol="0">
            <a:noAutofit/>
          </a:bodyPr>
          <a:lstStyle>
            <a:lvl1pPr marL="0" indent="0" algn="l">
              <a:lnSpc>
                <a:spcPct val="125000"/>
              </a:lnSpc>
              <a:buNone/>
              <a:defRPr sz="1400" spc="100" baseline="0">
                <a:solidFill>
                  <a:schemeClr val="bg1"/>
                </a:solidFill>
              </a:defRPr>
            </a:lvl1pPr>
          </a:lstStyle>
          <a:p>
            <a:pPr lvl="0" rtl="0"/>
            <a:r>
              <a:rPr lang="de-DE" noProof="0"/>
              <a:t>Klicken Sie, um Text hinzuzufügen.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19B0AE4-4C17-4975-A59C-4D9EFE5840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r>
              <a:rPr lang="en-US" noProof="0"/>
              <a:t>Q-Hack 25</a:t>
            </a:r>
            <a:endParaRPr lang="de-DE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5FC9023-3371-40C0-A618-BF8AA20FFE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r>
              <a:rPr lang="de-DE" noProof="0"/>
              <a:t>disQover Pitch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8221E28-544B-4D00-A151-341F3D7EC9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A402E4C0-AD5E-4E8C-9F21-7CCE474BDCEB}" type="slidenum">
              <a:rPr lang="de-DE" noProof="0" smtClean="0"/>
              <a:pPr rtl="0"/>
              <a:t>‹#›</a:t>
            </a:fld>
            <a:endParaRPr lang="de-DE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E907CF0-318A-401D-9F77-B63C65D296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52360" y="1728566"/>
            <a:ext cx="4127344" cy="724702"/>
          </a:xfrm>
        </p:spPr>
        <p:txBody>
          <a:bodyPr rtlCol="0" anchor="t">
            <a:noAutofit/>
          </a:bodyPr>
          <a:lstStyle>
            <a:lvl1pPr>
              <a:defRPr sz="2800">
                <a:ln w="19050">
                  <a:solidFill>
                    <a:schemeClr val="bg1"/>
                  </a:solidFill>
                </a:ln>
              </a:defRPr>
            </a:lvl1pPr>
          </a:lstStyle>
          <a:p>
            <a:pPr rtl="0"/>
            <a:r>
              <a:rPr lang="de-DE" noProof="0"/>
              <a:t>Titel durch Klicken hinzufügen</a:t>
            </a:r>
          </a:p>
        </p:txBody>
      </p:sp>
    </p:spTree>
    <p:extLst>
      <p:ext uri="{BB962C8B-B14F-4D97-AF65-F5344CB8AC3E}">
        <p14:creationId xmlns:p14="http://schemas.microsoft.com/office/powerpoint/2010/main" val="21988034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bl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 2">
            <a:extLst>
              <a:ext uri="{FF2B5EF4-FFF2-40B4-BE49-F238E27FC236}">
                <a16:creationId xmlns:a16="http://schemas.microsoft.com/office/drawing/2014/main" id="{6B95BA1F-6B83-4358-A202-FD15470976A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35C10F8-CB40-4BDD-AA21-7DDC300FE7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r>
              <a:rPr lang="en-US" noProof="0"/>
              <a:t>Q-Hack 25</a:t>
            </a:r>
            <a:endParaRPr lang="de-DE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34969F5-F9D0-4A38-8C6C-86005388F5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r>
              <a:rPr lang="de-DE" noProof="0"/>
              <a:t>disQover Pitch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CC33B3F-10CE-4363-805C-361CA49414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A402E4C0-AD5E-4E8C-9F21-7CCE474BDCEB}" type="slidenum">
              <a:rPr lang="de-DE" noProof="0" smtClean="0"/>
              <a:t>‹#›</a:t>
            </a:fld>
            <a:endParaRPr lang="de-DE" noProof="0"/>
          </a:p>
        </p:txBody>
      </p:sp>
      <p:sp>
        <p:nvSpPr>
          <p:cNvPr id="13" name="Bildplatzhalter 7">
            <a:extLst>
              <a:ext uri="{FF2B5EF4-FFF2-40B4-BE49-F238E27FC236}">
                <a16:creationId xmlns:a16="http://schemas.microsoft.com/office/drawing/2014/main" id="{8EABAB15-C887-420D-92A1-24DBD62EE55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 flipH="1">
            <a:off x="0" y="729926"/>
            <a:ext cx="3581400" cy="5388772"/>
          </a:xfrm>
        </p:spPr>
        <p:txBody>
          <a:bodyPr rtlCol="0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rtl="0"/>
            <a:r>
              <a:rPr lang="de-DE" noProof="0"/>
              <a:t>Zum Hinzufügen eines Fotos klicken</a:t>
            </a:r>
          </a:p>
        </p:txBody>
      </p:sp>
      <p:sp>
        <p:nvSpPr>
          <p:cNvPr id="16" name="Textplatzhalter 14">
            <a:extLst>
              <a:ext uri="{FF2B5EF4-FFF2-40B4-BE49-F238E27FC236}">
                <a16:creationId xmlns:a16="http://schemas.microsoft.com/office/drawing/2014/main" id="{F7E8EA93-3F05-4D28-8B15-91D6789458B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46476" y="1921400"/>
            <a:ext cx="2289974" cy="365125"/>
          </a:xfrm>
          <a:prstGeom prst="rect">
            <a:avLst/>
          </a:prstGeom>
        </p:spPr>
        <p:txBody>
          <a:bodyPr rtlCol="0"/>
          <a:lstStyle>
            <a:lvl1pPr marL="0" indent="0">
              <a:buNone/>
              <a:defRPr sz="1600" b="1" cap="all" spc="200" baseline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rtl="0"/>
            <a:r>
              <a:rPr lang="de-DE" noProof="0"/>
              <a:t>Titel durch Klicken hinzufügen</a:t>
            </a:r>
          </a:p>
        </p:txBody>
      </p:sp>
      <p:sp>
        <p:nvSpPr>
          <p:cNvPr id="17" name="Textplatzhalter 14">
            <a:extLst>
              <a:ext uri="{FF2B5EF4-FFF2-40B4-BE49-F238E27FC236}">
                <a16:creationId xmlns:a16="http://schemas.microsoft.com/office/drawing/2014/main" id="{B4EBCE5D-8795-44C7-8196-051689C6FE2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46476" y="2245710"/>
            <a:ext cx="2289974" cy="1739538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lnSpc>
                <a:spcPct val="114000"/>
              </a:lnSpc>
              <a:spcBef>
                <a:spcPts val="0"/>
              </a:spcBef>
              <a:buNone/>
              <a:defRPr sz="1400" cap="none" spc="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 rtl="0"/>
            <a:r>
              <a:rPr lang="de-DE" noProof="0"/>
              <a:t>Klicken Sie, um Text hinzuzufügen.</a:t>
            </a:r>
          </a:p>
        </p:txBody>
      </p:sp>
      <p:sp>
        <p:nvSpPr>
          <p:cNvPr id="18" name="Textplatzhalter 14">
            <a:extLst>
              <a:ext uri="{FF2B5EF4-FFF2-40B4-BE49-F238E27FC236}">
                <a16:creationId xmlns:a16="http://schemas.microsoft.com/office/drawing/2014/main" id="{195044F5-86E3-4A1C-B3C8-6E3422E5B41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65518" y="2245710"/>
            <a:ext cx="2289974" cy="1739538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lnSpc>
                <a:spcPct val="114000"/>
              </a:lnSpc>
              <a:spcBef>
                <a:spcPts val="0"/>
              </a:spcBef>
              <a:buNone/>
              <a:defRPr sz="1400" cap="none" spc="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 rtl="0"/>
            <a:r>
              <a:rPr lang="de-DE" noProof="0"/>
              <a:t>Klicken Sie, um Text hinzuzufügen.</a:t>
            </a:r>
          </a:p>
        </p:txBody>
      </p:sp>
      <p:sp>
        <p:nvSpPr>
          <p:cNvPr id="19" name="Textplatzhalter 14">
            <a:extLst>
              <a:ext uri="{FF2B5EF4-FFF2-40B4-BE49-F238E27FC236}">
                <a16:creationId xmlns:a16="http://schemas.microsoft.com/office/drawing/2014/main" id="{4C9BA1BF-0690-4DB5-9BBC-31D1948D82A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746476" y="4443157"/>
            <a:ext cx="2289974" cy="1463249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lnSpc>
                <a:spcPct val="114000"/>
              </a:lnSpc>
              <a:spcBef>
                <a:spcPts val="0"/>
              </a:spcBef>
              <a:buNone/>
              <a:defRPr sz="1400" cap="none" spc="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 rtl="0"/>
            <a:r>
              <a:rPr lang="de-DE" noProof="0"/>
              <a:t>Klicken Sie, um Text hinzuzufügen.</a:t>
            </a:r>
          </a:p>
        </p:txBody>
      </p:sp>
      <p:sp>
        <p:nvSpPr>
          <p:cNvPr id="20" name="Textplatzhalter 14">
            <a:extLst>
              <a:ext uri="{FF2B5EF4-FFF2-40B4-BE49-F238E27FC236}">
                <a16:creationId xmlns:a16="http://schemas.microsoft.com/office/drawing/2014/main" id="{0D187952-9422-42DE-B163-B764E0D0992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65519" y="4451209"/>
            <a:ext cx="2289972" cy="1457161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lnSpc>
                <a:spcPct val="114000"/>
              </a:lnSpc>
              <a:spcBef>
                <a:spcPts val="0"/>
              </a:spcBef>
              <a:buNone/>
              <a:defRPr sz="1400" cap="none" spc="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 rtl="0"/>
            <a:r>
              <a:rPr lang="de-DE" noProof="0"/>
              <a:t>Klicken Sie, um Text hinzuzufügen.</a:t>
            </a:r>
          </a:p>
        </p:txBody>
      </p:sp>
      <p:sp>
        <p:nvSpPr>
          <p:cNvPr id="21" name="Textplatzhalter 14">
            <a:extLst>
              <a:ext uri="{FF2B5EF4-FFF2-40B4-BE49-F238E27FC236}">
                <a16:creationId xmlns:a16="http://schemas.microsoft.com/office/drawing/2014/main" id="{54291470-2EE9-46D8-8083-E4523DCE52B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065517" y="1921400"/>
            <a:ext cx="2289974" cy="365125"/>
          </a:xfrm>
          <a:prstGeom prst="rect">
            <a:avLst/>
          </a:prstGeom>
        </p:spPr>
        <p:txBody>
          <a:bodyPr rtlCol="0"/>
          <a:lstStyle>
            <a:lvl1pPr marL="0" indent="0">
              <a:buNone/>
              <a:defRPr sz="1600" b="1" cap="all" spc="200" baseline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rtl="0"/>
            <a:r>
              <a:rPr lang="de-DE" noProof="0"/>
              <a:t>Titel durch Klicken hinzufügen</a:t>
            </a:r>
          </a:p>
        </p:txBody>
      </p:sp>
      <p:sp>
        <p:nvSpPr>
          <p:cNvPr id="22" name="Textplatzhalter 14">
            <a:extLst>
              <a:ext uri="{FF2B5EF4-FFF2-40B4-BE49-F238E27FC236}">
                <a16:creationId xmlns:a16="http://schemas.microsoft.com/office/drawing/2014/main" id="{17B8E7E2-50C1-429D-A8C5-C098CDADCF3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746476" y="4118846"/>
            <a:ext cx="2289974" cy="365125"/>
          </a:xfrm>
          <a:prstGeom prst="rect">
            <a:avLst/>
          </a:prstGeom>
        </p:spPr>
        <p:txBody>
          <a:bodyPr rtlCol="0"/>
          <a:lstStyle>
            <a:lvl1pPr marL="0" indent="0">
              <a:buNone/>
              <a:defRPr sz="1600" b="1" cap="all" spc="200" baseline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rtl="0"/>
            <a:r>
              <a:rPr lang="de-DE" noProof="0"/>
              <a:t>Titel durch Klicken hinzufügen</a:t>
            </a:r>
          </a:p>
        </p:txBody>
      </p:sp>
      <p:sp>
        <p:nvSpPr>
          <p:cNvPr id="23" name="Textplatzhalter 14">
            <a:extLst>
              <a:ext uri="{FF2B5EF4-FFF2-40B4-BE49-F238E27FC236}">
                <a16:creationId xmlns:a16="http://schemas.microsoft.com/office/drawing/2014/main" id="{09DB38C9-BBE5-4212-87C2-D9B34A47075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65518" y="4118846"/>
            <a:ext cx="2289972" cy="365125"/>
          </a:xfrm>
          <a:prstGeom prst="rect">
            <a:avLst/>
          </a:prstGeom>
        </p:spPr>
        <p:txBody>
          <a:bodyPr rtlCol="0"/>
          <a:lstStyle>
            <a:lvl1pPr marL="0" indent="0">
              <a:buNone/>
              <a:defRPr sz="1600" b="1" cap="all" spc="200" baseline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rtl="0"/>
            <a:r>
              <a:rPr lang="de-DE" noProof="0"/>
              <a:t>Titel durch Klicken hinzufügen</a:t>
            </a:r>
          </a:p>
        </p:txBody>
      </p:sp>
      <p:sp>
        <p:nvSpPr>
          <p:cNvPr id="24" name="Textplatzhalter 14">
            <a:extLst>
              <a:ext uri="{FF2B5EF4-FFF2-40B4-BE49-F238E27FC236}">
                <a16:creationId xmlns:a16="http://schemas.microsoft.com/office/drawing/2014/main" id="{EA61E342-2B6C-4379-A3B3-8D1B338F656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417910" y="1921400"/>
            <a:ext cx="2289974" cy="365125"/>
          </a:xfrm>
          <a:prstGeom prst="rect">
            <a:avLst/>
          </a:prstGeom>
        </p:spPr>
        <p:txBody>
          <a:bodyPr rtlCol="0"/>
          <a:lstStyle>
            <a:lvl1pPr marL="0" indent="0">
              <a:buNone/>
              <a:defRPr sz="1600" b="1" cap="all" spc="200" baseline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rtl="0"/>
            <a:r>
              <a:rPr lang="de-DE" noProof="0"/>
              <a:t>Titel durch Klicken hinzufügen</a:t>
            </a:r>
          </a:p>
        </p:txBody>
      </p:sp>
      <p:sp>
        <p:nvSpPr>
          <p:cNvPr id="25" name="Textplatzhalter 14">
            <a:extLst>
              <a:ext uri="{FF2B5EF4-FFF2-40B4-BE49-F238E27FC236}">
                <a16:creationId xmlns:a16="http://schemas.microsoft.com/office/drawing/2014/main" id="{4F39B769-D212-4C11-B6CB-0423DD10599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417910" y="2245710"/>
            <a:ext cx="2289974" cy="1739538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lnSpc>
                <a:spcPct val="114000"/>
              </a:lnSpc>
              <a:spcBef>
                <a:spcPts val="0"/>
              </a:spcBef>
              <a:buNone/>
              <a:defRPr sz="1400" cap="none" spc="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 rtl="0"/>
            <a:r>
              <a:rPr lang="de-DE" noProof="0"/>
              <a:t>Klicken Sie, um Text hinzuzufügen.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C47FF8E-011E-46E6-9F4D-DAD4830958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65516" y="1185284"/>
            <a:ext cx="7288284" cy="469490"/>
          </a:xfrm>
        </p:spPr>
        <p:txBody>
          <a:bodyPr rtlCol="0" anchor="t">
            <a:normAutofit/>
          </a:bodyPr>
          <a:lstStyle>
            <a:lvl1pPr>
              <a:lnSpc>
                <a:spcPct val="100000"/>
              </a:lnSpc>
              <a:defRPr sz="2800">
                <a:ln w="19050">
                  <a:solidFill>
                    <a:schemeClr val="accent5"/>
                  </a:solidFill>
                </a:ln>
              </a:defRPr>
            </a:lvl1pPr>
          </a:lstStyle>
          <a:p>
            <a:pPr rtl="0"/>
            <a:r>
              <a:rPr lang="de-DE" noProof="0"/>
              <a:t>Titel durch Klicken hinzufügen</a:t>
            </a:r>
          </a:p>
        </p:txBody>
      </p:sp>
    </p:spTree>
    <p:extLst>
      <p:ext uri="{BB962C8B-B14F-4D97-AF65-F5344CB8AC3E}">
        <p14:creationId xmlns:p14="http://schemas.microsoft.com/office/powerpoint/2010/main" val="305773569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bl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663AEBF-9F25-6417-6306-7E47D4F7C4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607258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6" imgH="486" progId="TCLayout.ActiveDocument.1">
                  <p:embed/>
                </p:oleObj>
              </mc:Choice>
              <mc:Fallback>
                <p:oleObj name="think-cell Slide" r:id="rId3" imgW="486" imgH="48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663AEBF-9F25-6417-6306-7E47D4F7C4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10" descr="Ein Bild, das Sport, Hengst, Zügel, Stute enthält.&#10;&#10;KI-generierte Inhalte können fehlerhaft sein.">
            <a:extLst>
              <a:ext uri="{FF2B5EF4-FFF2-40B4-BE49-F238E27FC236}">
                <a16:creationId xmlns:a16="http://schemas.microsoft.com/office/drawing/2014/main" id="{A6C5B428-73D6-2B3D-DB0B-8DABB05794D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 t="5657" b="8649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35C10F8-CB40-4BDD-AA21-7DDC300FE7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r>
              <a:rPr lang="en-US" noProof="0"/>
              <a:t>Q-Hack 25</a:t>
            </a:r>
            <a:endParaRPr lang="de-DE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34969F5-F9D0-4A38-8C6C-86005388F5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r>
              <a:rPr lang="de-DE" noProof="0"/>
              <a:t>disQover Pitch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CC33B3F-10CE-4363-805C-361CA49414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A402E4C0-AD5E-4E8C-9F21-7CCE474BDCEB}" type="slidenum">
              <a:rPr lang="de-DE" noProof="0" smtClean="0"/>
              <a:t>‹#›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29586032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robl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663AEBF-9F25-6417-6306-7E47D4F7C4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82960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6" imgH="486" progId="TCLayout.ActiveDocument.1">
                  <p:embed/>
                </p:oleObj>
              </mc:Choice>
              <mc:Fallback>
                <p:oleObj name="think-cell Slide" r:id="rId3" imgW="486" imgH="48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663AEBF-9F25-6417-6306-7E47D4F7C4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098" name="Picture 2">
            <a:extLst>
              <a:ext uri="{FF2B5EF4-FFF2-40B4-BE49-F238E27FC236}">
                <a16:creationId xmlns:a16="http://schemas.microsoft.com/office/drawing/2014/main" id="{8574FA61-E150-7AC8-7A50-3E411B2AEBDB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751" b="987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35C10F8-CB40-4BDD-AA21-7DDC300FE7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r>
              <a:rPr lang="en-US" noProof="0"/>
              <a:t>Q-Hack 25</a:t>
            </a:r>
            <a:endParaRPr lang="de-DE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34969F5-F9D0-4A38-8C6C-86005388F5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r>
              <a:rPr lang="de-DE" noProof="0"/>
              <a:t>disQover Pitch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CC33B3F-10CE-4363-805C-361CA49414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A402E4C0-AD5E-4E8C-9F21-7CCE474BDCEB}" type="slidenum">
              <a:rPr lang="de-DE" noProof="0" smtClean="0"/>
              <a:t>‹#›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188917700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ös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 2">
            <a:extLst>
              <a:ext uri="{FF2B5EF4-FFF2-40B4-BE49-F238E27FC236}">
                <a16:creationId xmlns:a16="http://schemas.microsoft.com/office/drawing/2014/main" id="{EA781AFB-2572-4954-B05E-84CDE1D8831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E750850-5ECD-4AA5-8EF0-70C6EA291E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r>
              <a:rPr lang="en-US" noProof="0"/>
              <a:t>Q-Hack 25</a:t>
            </a:r>
            <a:endParaRPr lang="de-DE" noProof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126B04CF-8972-48CE-B427-B542AF911B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r>
              <a:rPr lang="de-DE" noProof="0"/>
              <a:t>disQover Pitch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9864ACC-F262-4128-BC17-FCB29BEF07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A402E4C0-AD5E-4E8C-9F21-7CCE474BDCEB}" type="slidenum">
              <a:rPr lang="de-DE" noProof="0" smtClean="0"/>
              <a:t>‹#›</a:t>
            </a:fld>
            <a:endParaRPr lang="de-DE" noProof="0"/>
          </a:p>
        </p:txBody>
      </p:sp>
      <p:sp>
        <p:nvSpPr>
          <p:cNvPr id="12" name="Textplatzhalter 14">
            <a:extLst>
              <a:ext uri="{FF2B5EF4-FFF2-40B4-BE49-F238E27FC236}">
                <a16:creationId xmlns:a16="http://schemas.microsoft.com/office/drawing/2014/main" id="{717CFF16-7992-46DD-8151-F55B0300570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506711" y="1335193"/>
            <a:ext cx="2859090" cy="365125"/>
          </a:xfrm>
          <a:prstGeom prst="rect">
            <a:avLst/>
          </a:prstGeom>
        </p:spPr>
        <p:txBody>
          <a:bodyPr rtlCol="0"/>
          <a:lstStyle>
            <a:lvl1pPr marL="0" indent="0">
              <a:buNone/>
              <a:defRPr sz="1600" b="1" cap="all" spc="200" baseline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rtl="0"/>
            <a:r>
              <a:rPr lang="de-DE" noProof="0"/>
              <a:t>Titel durch Klicken hinzufügen</a:t>
            </a:r>
          </a:p>
        </p:txBody>
      </p:sp>
      <p:sp>
        <p:nvSpPr>
          <p:cNvPr id="13" name="Textplatzhalter 14">
            <a:extLst>
              <a:ext uri="{FF2B5EF4-FFF2-40B4-BE49-F238E27FC236}">
                <a16:creationId xmlns:a16="http://schemas.microsoft.com/office/drawing/2014/main" id="{EBADC1C2-D36B-4AFE-8824-DE6D0FB5138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06711" y="1639822"/>
            <a:ext cx="2859090" cy="1475319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lnSpc>
                <a:spcPct val="114000"/>
              </a:lnSpc>
              <a:spcBef>
                <a:spcPts val="0"/>
              </a:spcBef>
              <a:buNone/>
              <a:defRPr sz="1400" cap="none" spc="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 rtl="0"/>
            <a:r>
              <a:rPr lang="de-DE" noProof="0"/>
              <a:t>Klicken Sie, um Text hinzuzufügen.</a:t>
            </a:r>
          </a:p>
        </p:txBody>
      </p:sp>
      <p:sp>
        <p:nvSpPr>
          <p:cNvPr id="14" name="Textplatzhalter 14">
            <a:extLst>
              <a:ext uri="{FF2B5EF4-FFF2-40B4-BE49-F238E27FC236}">
                <a16:creationId xmlns:a16="http://schemas.microsoft.com/office/drawing/2014/main" id="{F1632658-DE5C-4EA2-83DE-AB456D9D76E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67309" y="1639822"/>
            <a:ext cx="2859091" cy="1517776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lnSpc>
                <a:spcPct val="114000"/>
              </a:lnSpc>
              <a:spcBef>
                <a:spcPts val="0"/>
              </a:spcBef>
              <a:buNone/>
              <a:defRPr sz="1400" cap="none" spc="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 rtl="0"/>
            <a:r>
              <a:rPr lang="de-DE" noProof="0"/>
              <a:t>Klicken Sie, um Text hinzuzufügen.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76A6D61C-C33C-46D5-B2C5-6C6A7C143A9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06711" y="3837269"/>
            <a:ext cx="2859090" cy="1533310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lnSpc>
                <a:spcPct val="114000"/>
              </a:lnSpc>
              <a:spcBef>
                <a:spcPts val="0"/>
              </a:spcBef>
              <a:buNone/>
              <a:defRPr sz="1400" cap="none" spc="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 rtl="0"/>
            <a:r>
              <a:rPr lang="de-DE" noProof="0"/>
              <a:t>Klicken Sie, um Text hinzuzufügen.</a:t>
            </a:r>
          </a:p>
        </p:txBody>
      </p:sp>
      <p:sp>
        <p:nvSpPr>
          <p:cNvPr id="16" name="Textplatzhalter 14">
            <a:extLst>
              <a:ext uri="{FF2B5EF4-FFF2-40B4-BE49-F238E27FC236}">
                <a16:creationId xmlns:a16="http://schemas.microsoft.com/office/drawing/2014/main" id="{0A4E6A96-585A-4265-900D-17D98121F54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167310" y="3845321"/>
            <a:ext cx="2859089" cy="1526930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lnSpc>
                <a:spcPct val="114000"/>
              </a:lnSpc>
              <a:spcBef>
                <a:spcPts val="0"/>
              </a:spcBef>
              <a:buNone/>
              <a:defRPr sz="1400" cap="none" spc="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 rtl="0"/>
            <a:r>
              <a:rPr lang="de-DE" noProof="0"/>
              <a:t>Klicken Sie, um Text hinzuzufügen.</a:t>
            </a:r>
          </a:p>
        </p:txBody>
      </p:sp>
      <p:sp>
        <p:nvSpPr>
          <p:cNvPr id="17" name="Textplatzhalter 14">
            <a:extLst>
              <a:ext uri="{FF2B5EF4-FFF2-40B4-BE49-F238E27FC236}">
                <a16:creationId xmlns:a16="http://schemas.microsoft.com/office/drawing/2014/main" id="{28B8437C-1550-4581-911A-98BEA151A4A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167308" y="1335193"/>
            <a:ext cx="2859091" cy="365125"/>
          </a:xfrm>
          <a:prstGeom prst="rect">
            <a:avLst/>
          </a:prstGeom>
        </p:spPr>
        <p:txBody>
          <a:bodyPr rtlCol="0"/>
          <a:lstStyle>
            <a:lvl1pPr marL="0" indent="0">
              <a:buNone/>
              <a:defRPr sz="1600" b="1" cap="all" spc="200" baseline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rtl="0"/>
            <a:r>
              <a:rPr lang="de-DE" noProof="0"/>
              <a:t>Titel durch Klicken hinzufügen</a:t>
            </a:r>
          </a:p>
        </p:txBody>
      </p:sp>
      <p:sp>
        <p:nvSpPr>
          <p:cNvPr id="18" name="Textplatzhalter 14">
            <a:extLst>
              <a:ext uri="{FF2B5EF4-FFF2-40B4-BE49-F238E27FC236}">
                <a16:creationId xmlns:a16="http://schemas.microsoft.com/office/drawing/2014/main" id="{04DF1AD6-E51A-4D19-A9C8-CCAFE9E9B2A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506711" y="3532639"/>
            <a:ext cx="2859090" cy="365125"/>
          </a:xfrm>
          <a:prstGeom prst="rect">
            <a:avLst/>
          </a:prstGeom>
        </p:spPr>
        <p:txBody>
          <a:bodyPr rtlCol="0"/>
          <a:lstStyle>
            <a:lvl1pPr marL="0" indent="0">
              <a:buNone/>
              <a:defRPr sz="1600" b="1" cap="all" spc="200" baseline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rtl="0"/>
            <a:r>
              <a:rPr lang="de-DE" noProof="0"/>
              <a:t>Titel durch Klicken hinzufügen</a:t>
            </a:r>
          </a:p>
        </p:txBody>
      </p:sp>
      <p:sp>
        <p:nvSpPr>
          <p:cNvPr id="19" name="Textplatzhalter 14">
            <a:extLst>
              <a:ext uri="{FF2B5EF4-FFF2-40B4-BE49-F238E27FC236}">
                <a16:creationId xmlns:a16="http://schemas.microsoft.com/office/drawing/2014/main" id="{A3656830-2B4C-4F48-8EBD-F8C80C353FC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67309" y="3532639"/>
            <a:ext cx="2859089" cy="365125"/>
          </a:xfrm>
          <a:prstGeom prst="rect">
            <a:avLst/>
          </a:prstGeom>
        </p:spPr>
        <p:txBody>
          <a:bodyPr rtlCol="0"/>
          <a:lstStyle>
            <a:lvl1pPr marL="0" indent="0">
              <a:buNone/>
              <a:defRPr sz="1600" b="1" cap="all" spc="200" baseline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rtl="0"/>
            <a:r>
              <a:rPr lang="de-DE" noProof="0"/>
              <a:t>Titel durch Klicken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23D6999-ED11-424C-91FD-1ECD0CB9D2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84299" y="2768600"/>
            <a:ext cx="2956810" cy="1129164"/>
          </a:xfrm>
        </p:spPr>
        <p:txBody>
          <a:bodyPr rtlCol="0" anchor="t">
            <a:normAutofit/>
          </a:bodyPr>
          <a:lstStyle>
            <a:lvl1pPr>
              <a:lnSpc>
                <a:spcPct val="125000"/>
              </a:lnSpc>
              <a:defRPr sz="2800">
                <a:ln w="19050">
                  <a:solidFill>
                    <a:schemeClr val="bg1"/>
                  </a:solidFill>
                </a:ln>
              </a:defRPr>
            </a:lvl1pPr>
          </a:lstStyle>
          <a:p>
            <a:pPr rtl="0"/>
            <a:r>
              <a:rPr lang="de-DE" noProof="0"/>
              <a:t>Titel durch Klicken hinzufügen</a:t>
            </a:r>
          </a:p>
        </p:txBody>
      </p:sp>
    </p:spTree>
    <p:extLst>
      <p:ext uri="{BB962C8B-B14F-4D97-AF65-F5344CB8AC3E}">
        <p14:creationId xmlns:p14="http://schemas.microsoft.com/office/powerpoint/2010/main" val="374914884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ktübersic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 2">
            <a:extLst>
              <a:ext uri="{FF2B5EF4-FFF2-40B4-BE49-F238E27FC236}">
                <a16:creationId xmlns:a16="http://schemas.microsoft.com/office/drawing/2014/main" id="{7A0CE26C-A8CF-4DC0-9913-86FF0ED8762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15DD4FC6-591F-4220-A331-724C4FE41E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r>
              <a:rPr lang="en-US" noProof="0"/>
              <a:t>Q-Hack 25</a:t>
            </a:r>
            <a:endParaRPr lang="de-DE" noProof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1506146-DCCA-4419-9FC3-7F33AEABA4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r>
              <a:rPr lang="de-DE" noProof="0"/>
              <a:t>disQover Pitch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4BDEDAF2-5575-4164-9610-7906C20335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A402E4C0-AD5E-4E8C-9F21-7CCE474BDCEB}" type="slidenum">
              <a:rPr lang="de-DE" noProof="0" smtClean="0"/>
              <a:t>‹#›</a:t>
            </a:fld>
            <a:endParaRPr lang="de-DE" noProof="0"/>
          </a:p>
        </p:txBody>
      </p:sp>
      <p:sp>
        <p:nvSpPr>
          <p:cNvPr id="35" name="Textplatzhalter 14">
            <a:extLst>
              <a:ext uri="{FF2B5EF4-FFF2-40B4-BE49-F238E27FC236}">
                <a16:creationId xmlns:a16="http://schemas.microsoft.com/office/drawing/2014/main" id="{0C598512-93DF-4C00-A3BC-4CFF184217A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20484" y="3639417"/>
            <a:ext cx="2383764" cy="365125"/>
          </a:xfrm>
          <a:prstGeom prst="rect">
            <a:avLst/>
          </a:prstGeom>
        </p:spPr>
        <p:txBody>
          <a:bodyPr rtlCol="0"/>
          <a:lstStyle>
            <a:lvl1pPr marL="0" indent="0" algn="ctr">
              <a:buNone/>
              <a:defRPr sz="1600" b="1" cap="all" spc="200" baseline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rtl="0"/>
            <a:r>
              <a:rPr lang="de-DE" noProof="0"/>
              <a:t>Titel durch Klicken hinzufügen</a:t>
            </a:r>
          </a:p>
        </p:txBody>
      </p:sp>
      <p:sp>
        <p:nvSpPr>
          <p:cNvPr id="36" name="Textplatzhalter 14">
            <a:extLst>
              <a:ext uri="{FF2B5EF4-FFF2-40B4-BE49-F238E27FC236}">
                <a16:creationId xmlns:a16="http://schemas.microsoft.com/office/drawing/2014/main" id="{9AFC7B8A-881F-4E97-91D4-F41DFA6D8F8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20484" y="3965866"/>
            <a:ext cx="2383764" cy="1126085"/>
          </a:xfrm>
          <a:prstGeom prst="rect">
            <a:avLst/>
          </a:prstGeom>
        </p:spPr>
        <p:txBody>
          <a:bodyPr rtlCol="0"/>
          <a:lstStyle>
            <a:lvl1pPr marL="0" indent="0" algn="ctr">
              <a:lnSpc>
                <a:spcPct val="114000"/>
              </a:lnSpc>
              <a:spcBef>
                <a:spcPts val="0"/>
              </a:spcBef>
              <a:buNone/>
              <a:defRPr sz="1400" cap="none" spc="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 rtl="0"/>
            <a:r>
              <a:rPr lang="de-DE" noProof="0"/>
              <a:t>Klicken Sie, um Text hinzuzufügen.</a:t>
            </a:r>
          </a:p>
        </p:txBody>
      </p:sp>
      <p:sp>
        <p:nvSpPr>
          <p:cNvPr id="37" name="Textplatzhalter 14">
            <a:extLst>
              <a:ext uri="{FF2B5EF4-FFF2-40B4-BE49-F238E27FC236}">
                <a16:creationId xmlns:a16="http://schemas.microsoft.com/office/drawing/2014/main" id="{77B10018-89A9-49C8-8DCE-621EF9328C6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478982" y="3969554"/>
            <a:ext cx="2383764" cy="1126085"/>
          </a:xfrm>
          <a:prstGeom prst="rect">
            <a:avLst/>
          </a:prstGeom>
        </p:spPr>
        <p:txBody>
          <a:bodyPr rtlCol="0"/>
          <a:lstStyle>
            <a:lvl1pPr marL="0" indent="0" algn="ctr">
              <a:lnSpc>
                <a:spcPct val="114000"/>
              </a:lnSpc>
              <a:spcBef>
                <a:spcPts val="0"/>
              </a:spcBef>
              <a:buNone/>
              <a:defRPr sz="1400" cap="none" spc="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 rtl="0"/>
            <a:r>
              <a:rPr lang="de-DE" noProof="0"/>
              <a:t>Klicken Sie, um Text hinzuzufügen.</a:t>
            </a:r>
          </a:p>
        </p:txBody>
      </p:sp>
      <p:sp>
        <p:nvSpPr>
          <p:cNvPr id="38" name="Textplatzhalter 14">
            <a:extLst>
              <a:ext uri="{FF2B5EF4-FFF2-40B4-BE49-F238E27FC236}">
                <a16:creationId xmlns:a16="http://schemas.microsoft.com/office/drawing/2014/main" id="{342C0572-2FB8-4C18-AD74-75A16532134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37478" y="3953422"/>
            <a:ext cx="2383765" cy="1126085"/>
          </a:xfrm>
          <a:prstGeom prst="rect">
            <a:avLst/>
          </a:prstGeom>
        </p:spPr>
        <p:txBody>
          <a:bodyPr rtlCol="0"/>
          <a:lstStyle>
            <a:lvl1pPr marL="0" indent="0" algn="ctr">
              <a:lnSpc>
                <a:spcPct val="114000"/>
              </a:lnSpc>
              <a:spcBef>
                <a:spcPts val="0"/>
              </a:spcBef>
              <a:buNone/>
              <a:defRPr sz="1400" cap="none" spc="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 rtl="0"/>
            <a:r>
              <a:rPr lang="de-DE" noProof="0"/>
              <a:t>Klicken Sie, um Text hinzuzufügen.</a:t>
            </a:r>
          </a:p>
        </p:txBody>
      </p:sp>
      <p:sp>
        <p:nvSpPr>
          <p:cNvPr id="39" name="Textplatzhalter 14">
            <a:extLst>
              <a:ext uri="{FF2B5EF4-FFF2-40B4-BE49-F238E27FC236}">
                <a16:creationId xmlns:a16="http://schemas.microsoft.com/office/drawing/2014/main" id="{3495EE04-F172-4AD4-8FE7-4A03B1CE4F8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188445" y="3953422"/>
            <a:ext cx="2383765" cy="1126085"/>
          </a:xfrm>
          <a:prstGeom prst="rect">
            <a:avLst/>
          </a:prstGeom>
        </p:spPr>
        <p:txBody>
          <a:bodyPr rtlCol="0"/>
          <a:lstStyle>
            <a:lvl1pPr marL="0" indent="0" algn="ctr">
              <a:lnSpc>
                <a:spcPct val="114000"/>
              </a:lnSpc>
              <a:spcBef>
                <a:spcPts val="0"/>
              </a:spcBef>
              <a:buNone/>
              <a:defRPr sz="1400" cap="none" spc="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 rtl="0"/>
            <a:r>
              <a:rPr lang="de-DE" noProof="0"/>
              <a:t>Klicken Sie, um Text hinzuzufügen.</a:t>
            </a:r>
          </a:p>
        </p:txBody>
      </p:sp>
      <p:sp>
        <p:nvSpPr>
          <p:cNvPr id="40" name="Textplatzhalter 14">
            <a:extLst>
              <a:ext uri="{FF2B5EF4-FFF2-40B4-BE49-F238E27FC236}">
                <a16:creationId xmlns:a16="http://schemas.microsoft.com/office/drawing/2014/main" id="{F23ABA12-4A7C-42A2-9A8E-9E7F1A2BB23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19503" y="3639417"/>
            <a:ext cx="2502719" cy="365125"/>
          </a:xfrm>
          <a:prstGeom prst="rect">
            <a:avLst/>
          </a:prstGeom>
        </p:spPr>
        <p:txBody>
          <a:bodyPr rtlCol="0"/>
          <a:lstStyle>
            <a:lvl1pPr marL="0" indent="0" algn="ctr">
              <a:buNone/>
              <a:defRPr sz="1600" b="1" cap="all" spc="200" baseline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rtl="0"/>
            <a:r>
              <a:rPr lang="de-DE" noProof="0"/>
              <a:t>Titel durch Klicken hinzufügen</a:t>
            </a:r>
          </a:p>
        </p:txBody>
      </p:sp>
      <p:sp>
        <p:nvSpPr>
          <p:cNvPr id="41" name="Textplatzhalter 14">
            <a:extLst>
              <a:ext uri="{FF2B5EF4-FFF2-40B4-BE49-F238E27FC236}">
                <a16:creationId xmlns:a16="http://schemas.microsoft.com/office/drawing/2014/main" id="{1E11CB21-11BD-400A-BC43-71A9AFA9282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37478" y="3639417"/>
            <a:ext cx="2383765" cy="365125"/>
          </a:xfrm>
          <a:prstGeom prst="rect">
            <a:avLst/>
          </a:prstGeom>
        </p:spPr>
        <p:txBody>
          <a:bodyPr rtlCol="0"/>
          <a:lstStyle>
            <a:lvl1pPr marL="0" indent="0" algn="ctr">
              <a:buNone/>
              <a:defRPr sz="1600" b="1" cap="all" spc="200" baseline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rtl="0"/>
            <a:r>
              <a:rPr lang="de-DE" noProof="0"/>
              <a:t>Titel durch Klicken hinzufügen</a:t>
            </a:r>
          </a:p>
        </p:txBody>
      </p:sp>
      <p:sp>
        <p:nvSpPr>
          <p:cNvPr id="42" name="Textplatzhalter 14">
            <a:extLst>
              <a:ext uri="{FF2B5EF4-FFF2-40B4-BE49-F238E27FC236}">
                <a16:creationId xmlns:a16="http://schemas.microsoft.com/office/drawing/2014/main" id="{02DE0CA8-2A1F-49D8-B9B6-BF353B9808C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188445" y="3639417"/>
            <a:ext cx="2383765" cy="365125"/>
          </a:xfrm>
          <a:prstGeom prst="rect">
            <a:avLst/>
          </a:prstGeom>
        </p:spPr>
        <p:txBody>
          <a:bodyPr rtlCol="0"/>
          <a:lstStyle>
            <a:lvl1pPr marL="0" indent="0" algn="ctr">
              <a:buNone/>
              <a:defRPr sz="1600" b="1" cap="all" spc="200" baseline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rtl="0"/>
            <a:r>
              <a:rPr lang="de-DE" noProof="0"/>
              <a:t>Titel durch Klicken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55D3DD0-ED40-47C1-B841-046E1D918B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52697" y="1581912"/>
            <a:ext cx="7286605" cy="634323"/>
          </a:xfrm>
        </p:spPr>
        <p:txBody>
          <a:bodyPr rtlCol="0">
            <a:normAutofit/>
          </a:bodyPr>
          <a:lstStyle>
            <a:lvl1pPr algn="ctr">
              <a:lnSpc>
                <a:spcPct val="125000"/>
              </a:lnSpc>
              <a:defRPr sz="2800">
                <a:ln w="19050">
                  <a:solidFill>
                    <a:schemeClr val="bg1"/>
                  </a:solidFill>
                </a:ln>
              </a:defRPr>
            </a:lvl1pPr>
          </a:lstStyle>
          <a:p>
            <a:pPr rtl="0"/>
            <a:r>
              <a:rPr lang="de-DE" noProof="0"/>
              <a:t>Titel durch Klicken hinzufügen</a:t>
            </a:r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23C97099-E767-429A-80C6-731FB9D295F4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1510614" y="2847098"/>
            <a:ext cx="603504" cy="603504"/>
          </a:xfrm>
        </p:spPr>
        <p:txBody>
          <a:bodyPr rtlCol="0" anchor="ctr">
            <a:normAutofit/>
          </a:bodyPr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pPr rtl="0"/>
            <a:r>
              <a:rPr lang="de-DE" noProof="0"/>
              <a:t>Bild durch Klicken auf Symbol hinzufügen</a:t>
            </a:r>
          </a:p>
        </p:txBody>
      </p:sp>
      <p:sp>
        <p:nvSpPr>
          <p:cNvPr id="22" name="Bildplatzhalter 3">
            <a:extLst>
              <a:ext uri="{FF2B5EF4-FFF2-40B4-BE49-F238E27FC236}">
                <a16:creationId xmlns:a16="http://schemas.microsoft.com/office/drawing/2014/main" id="{E2E22B87-E0E3-4234-B4FA-C9FC97DEDCB3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4369110" y="2847098"/>
            <a:ext cx="603504" cy="603504"/>
          </a:xfrm>
        </p:spPr>
        <p:txBody>
          <a:bodyPr rtlCol="0" anchor="ctr">
            <a:normAutofit/>
          </a:bodyPr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pPr rtl="0"/>
            <a:r>
              <a:rPr lang="de-DE" noProof="0"/>
              <a:t>Bild durch Klicken auf Symbol hinzufügen</a:t>
            </a:r>
          </a:p>
        </p:txBody>
      </p:sp>
      <p:sp>
        <p:nvSpPr>
          <p:cNvPr id="24" name="Bildplatzhalter 3">
            <a:extLst>
              <a:ext uri="{FF2B5EF4-FFF2-40B4-BE49-F238E27FC236}">
                <a16:creationId xmlns:a16="http://schemas.microsoft.com/office/drawing/2014/main" id="{8EF1B794-5E10-4558-B229-0D8F5895CCAE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7227608" y="2847098"/>
            <a:ext cx="603504" cy="603504"/>
          </a:xfrm>
        </p:spPr>
        <p:txBody>
          <a:bodyPr rtlCol="0" anchor="ctr">
            <a:normAutofit/>
          </a:bodyPr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pPr rtl="0"/>
            <a:r>
              <a:rPr lang="de-DE" noProof="0"/>
              <a:t>Bild durch Klicken auf Symbol hinzufügen</a:t>
            </a:r>
          </a:p>
        </p:txBody>
      </p:sp>
      <p:sp>
        <p:nvSpPr>
          <p:cNvPr id="25" name="Bildplatzhalter 3">
            <a:extLst>
              <a:ext uri="{FF2B5EF4-FFF2-40B4-BE49-F238E27FC236}">
                <a16:creationId xmlns:a16="http://schemas.microsoft.com/office/drawing/2014/main" id="{5ECB6791-2C34-417D-9AB9-03C9A8BBDF91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0078575" y="2847098"/>
            <a:ext cx="603504" cy="603504"/>
          </a:xfrm>
        </p:spPr>
        <p:txBody>
          <a:bodyPr rtlCol="0" anchor="ctr">
            <a:normAutofit/>
          </a:bodyPr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pPr rtl="0"/>
            <a:r>
              <a:rPr lang="de-DE" noProof="0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34451929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ktvorte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 7">
            <a:extLst>
              <a:ext uri="{FF2B5EF4-FFF2-40B4-BE49-F238E27FC236}">
                <a16:creationId xmlns:a16="http://schemas.microsoft.com/office/drawing/2014/main" id="{57C8E50C-1C7A-4E62-B38F-3E12A174C85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0" y="0"/>
            <a:ext cx="12188620" cy="6858000"/>
          </a:xfrm>
          <a:prstGeom prst="rect">
            <a:avLst/>
          </a:prstGeom>
        </p:spPr>
      </p:pic>
      <p:sp>
        <p:nvSpPr>
          <p:cNvPr id="7" name="Bildplatzhalter 7">
            <a:extLst>
              <a:ext uri="{FF2B5EF4-FFF2-40B4-BE49-F238E27FC236}">
                <a16:creationId xmlns:a16="http://schemas.microsoft.com/office/drawing/2014/main" id="{7AF7405C-6DF9-4409-85F0-8C1DCCC0AC6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22570" y="729926"/>
            <a:ext cx="6456836" cy="5388772"/>
          </a:xfrm>
        </p:spPr>
        <p:txBody>
          <a:bodyPr rtlCol="0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rtl="0"/>
            <a:r>
              <a:rPr lang="de-DE" noProof="0"/>
              <a:t>Zum Hinzufügen eines Fotos klick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C883B71-4A78-4B93-97F2-F54D7DC100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67704" y="1881922"/>
            <a:ext cx="5749200" cy="3084630"/>
          </a:xfrm>
          <a:solidFill>
            <a:schemeClr val="bg2">
              <a:alpha val="93000"/>
            </a:schemeClr>
          </a:solidFill>
        </p:spPr>
        <p:txBody>
          <a:bodyPr lIns="694944" tIns="713232" rtlCol="0" anchor="t">
            <a:normAutofit/>
          </a:bodyPr>
          <a:lstStyle>
            <a:lvl1pPr algn="l">
              <a:lnSpc>
                <a:spcPct val="100000"/>
              </a:lnSpc>
              <a:defRPr sz="2800"/>
            </a:lvl1pPr>
          </a:lstStyle>
          <a:p>
            <a:pPr rtl="0"/>
            <a:r>
              <a:rPr lang="de-DE" noProof="0"/>
              <a:t>Titel durch Klicken hinzufügen</a:t>
            </a:r>
          </a:p>
        </p:txBody>
      </p:sp>
      <p:sp>
        <p:nvSpPr>
          <p:cNvPr id="9" name="Textplatzhalter 17">
            <a:extLst>
              <a:ext uri="{FF2B5EF4-FFF2-40B4-BE49-F238E27FC236}">
                <a16:creationId xmlns:a16="http://schemas.microsoft.com/office/drawing/2014/main" id="{83F286D7-A050-456B-BDD3-3FFAA21A809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79405" y="3201410"/>
            <a:ext cx="4614604" cy="1291638"/>
          </a:xfrm>
        </p:spPr>
        <p:txBody>
          <a:bodyPr rtlCol="0">
            <a:noAutofit/>
          </a:bodyPr>
          <a:lstStyle>
            <a:lvl1pPr marL="0" indent="0" algn="l">
              <a:lnSpc>
                <a:spcPct val="125000"/>
              </a:lnSpc>
              <a:buNone/>
              <a:defRPr sz="1400" spc="100" baseline="0">
                <a:solidFill>
                  <a:schemeClr val="accent2"/>
                </a:solidFill>
              </a:defRPr>
            </a:lvl1pPr>
          </a:lstStyle>
          <a:p>
            <a:pPr lvl="0" rtl="0"/>
            <a:r>
              <a:rPr lang="de-DE" noProof="0"/>
              <a:t>Klicken Sie, um Text hinzuzufügen.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A927E28-2C60-4D18-8BB3-DC9627E13C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r>
              <a:rPr lang="en-US" noProof="0"/>
              <a:t>Q-Hack 25</a:t>
            </a:r>
            <a:endParaRPr lang="de-DE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290EE45-541D-483E-A0B8-5997A2F98D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r>
              <a:rPr lang="de-DE" noProof="0"/>
              <a:t>disQover Pitch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04E100B-E96A-45D4-9553-51CF2CBA55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A402E4C0-AD5E-4E8C-9F21-7CCE474BDCEB}" type="slidenum">
              <a:rPr lang="de-DE" noProof="0" smtClean="0"/>
              <a:t>‹#›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177012408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nternehmensübersic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7">
            <a:extLst>
              <a:ext uri="{FF2B5EF4-FFF2-40B4-BE49-F238E27FC236}">
                <a16:creationId xmlns:a16="http://schemas.microsoft.com/office/drawing/2014/main" id="{E757B982-FF4B-4902-B808-FC325983FD9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 flipH="1">
            <a:off x="0" y="0"/>
            <a:ext cx="12192000" cy="6858000"/>
          </a:xfrm>
        </p:spPr>
        <p:txBody>
          <a:bodyPr rtlCol="0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rtl="0"/>
            <a:r>
              <a:rPr lang="de-DE" noProof="0"/>
              <a:t>Zum Hinzufügen eines Fotos klick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D7337BF-9564-499D-91CE-9DDD9C96933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03350" y="1371599"/>
            <a:ext cx="9385300" cy="985791"/>
          </a:xfrm>
        </p:spPr>
        <p:txBody>
          <a:bodyPr rtlCol="0">
            <a:noAutofit/>
          </a:bodyPr>
          <a:lstStyle>
            <a:lvl1pPr algn="ctr">
              <a:defRPr sz="5400">
                <a:ln w="19050">
                  <a:solidFill>
                    <a:schemeClr val="accent5"/>
                  </a:solidFill>
                </a:ln>
              </a:defRPr>
            </a:lvl1pPr>
          </a:lstStyle>
          <a:p>
            <a:pPr rtl="0"/>
            <a:r>
              <a:rPr lang="de-DE" noProof="0"/>
              <a:t>Titel durch Klicken hinzufügen</a:t>
            </a:r>
          </a:p>
        </p:txBody>
      </p:sp>
    </p:spTree>
    <p:extLst>
      <p:ext uri="{BB962C8B-B14F-4D97-AF65-F5344CB8AC3E}">
        <p14:creationId xmlns:p14="http://schemas.microsoft.com/office/powerpoint/2010/main" val="362790037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086D931A-7C4F-8537-7199-E7D340FFD0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7028441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486" imgH="486" progId="TCLayout.ActiveDocument.1">
                  <p:embed/>
                </p:oleObj>
              </mc:Choice>
              <mc:Fallback>
                <p:oleObj name="think-cell Slide" r:id="rId30" imgW="486" imgH="48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86D931A-7C4F-8537-7199-E7D340FFD0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8930B4CC-1CD5-414E-92CD-721B331F6F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rtl="0"/>
            <a:r>
              <a:rPr lang="de-DE" noProof="0"/>
              <a:t>Titelmasterformat durch Klicken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2A47427-FA4C-4262-9C2A-A640B569D45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 rtl="0"/>
            <a:r>
              <a:rPr lang="de-DE" noProof="0"/>
              <a:t>Textmasterformat durch Klicken bearbeiten</a:t>
            </a:r>
          </a:p>
          <a:p>
            <a:pPr lvl="1" rtl="0"/>
            <a:r>
              <a:rPr lang="de-DE" noProof="0"/>
              <a:t>Zweite Ebene</a:t>
            </a:r>
          </a:p>
          <a:p>
            <a:pPr lvl="2" rtl="0"/>
            <a:r>
              <a:rPr lang="de-DE" noProof="0"/>
              <a:t>Dritte Ebene</a:t>
            </a:r>
          </a:p>
          <a:p>
            <a:pPr lvl="3" rtl="0"/>
            <a:r>
              <a:rPr lang="de-DE" noProof="0"/>
              <a:t>Vierte Ebene</a:t>
            </a:r>
          </a:p>
          <a:p>
            <a:pPr lvl="4" rtl="0"/>
            <a:r>
              <a:rPr lang="de-DE" noProof="0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BFE89D4-4BDC-4CC9-959B-0D2E0BEB897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cap="all" spc="100" baseline="0">
                <a:solidFill>
                  <a:schemeClr val="bg1">
                    <a:lumMod val="95000"/>
                  </a:schemeClr>
                </a:solidFill>
                <a:latin typeface="Posterama" panose="020B0504020200020000" pitchFamily="34" charset="0"/>
                <a:cs typeface="Posterama" panose="020B0504020200020000" pitchFamily="34" charset="0"/>
              </a:defRPr>
            </a:lvl1pPr>
          </a:lstStyle>
          <a:p>
            <a:pPr rtl="0"/>
            <a:r>
              <a:rPr lang="en-US" noProof="0"/>
              <a:t>Q-Hack 25</a:t>
            </a:r>
            <a:endParaRPr lang="de-DE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E1285D2-5742-46C4-A6B1-B07CC6823A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cap="all" spc="100" baseline="0">
                <a:solidFill>
                  <a:schemeClr val="bg1">
                    <a:lumMod val="95000"/>
                  </a:schemeClr>
                </a:solidFill>
                <a:latin typeface="Posterama" panose="020B0504020200020000" pitchFamily="34" charset="0"/>
                <a:cs typeface="Posterama" panose="020B0504020200020000" pitchFamily="34" charset="0"/>
              </a:defRPr>
            </a:lvl1pPr>
          </a:lstStyle>
          <a:p>
            <a:pPr rtl="0"/>
            <a:r>
              <a:rPr lang="de-DE" noProof="0"/>
              <a:t>disQover Pitch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3D7CF20-6E1A-4F87-A039-3C59B25DA42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cap="all" spc="100" baseline="0">
                <a:solidFill>
                  <a:schemeClr val="bg1">
                    <a:lumMod val="95000"/>
                  </a:schemeClr>
                </a:solidFill>
                <a:latin typeface="Posterama" panose="020B0504020200020000" pitchFamily="34" charset="0"/>
                <a:cs typeface="Posterama" panose="020B0504020200020000" pitchFamily="34" charset="0"/>
              </a:defRPr>
            </a:lvl1pPr>
          </a:lstStyle>
          <a:p>
            <a:pPr rtl="0"/>
            <a:fld id="{A402E4C0-AD5E-4E8C-9F21-7CCE474BDCEB}" type="slidenum">
              <a:rPr lang="de-DE" noProof="0" smtClean="0"/>
              <a:pPr rtl="0"/>
              <a:t>‹#›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36348220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72" r:id="rId4"/>
    <p:sldLayoutId id="2147483676" r:id="rId5"/>
    <p:sldLayoutId id="2147483652" r:id="rId6"/>
    <p:sldLayoutId id="2147483653" r:id="rId7"/>
    <p:sldLayoutId id="2147483654" r:id="rId8"/>
    <p:sldLayoutId id="2147483655" r:id="rId9"/>
    <p:sldLayoutId id="2147483656" r:id="rId10"/>
    <p:sldLayoutId id="2147483657" r:id="rId11"/>
    <p:sldLayoutId id="2147483673" r:id="rId12"/>
    <p:sldLayoutId id="2147483658" r:id="rId13"/>
    <p:sldLayoutId id="2147483659" r:id="rId14"/>
    <p:sldLayoutId id="2147483661" r:id="rId15"/>
    <p:sldLayoutId id="2147483662" r:id="rId16"/>
    <p:sldLayoutId id="2147483674" r:id="rId17"/>
    <p:sldLayoutId id="2147483663" r:id="rId18"/>
    <p:sldLayoutId id="2147483664" r:id="rId19"/>
    <p:sldLayoutId id="2147483675" r:id="rId20"/>
    <p:sldLayoutId id="2147483665" r:id="rId21"/>
    <p:sldLayoutId id="2147483666" r:id="rId22"/>
    <p:sldLayoutId id="2147483671" r:id="rId23"/>
    <p:sldLayoutId id="2147483667" r:id="rId24"/>
    <p:sldLayoutId id="2147483668" r:id="rId25"/>
    <p:sldLayoutId id="2147483669" r:id="rId26"/>
    <p:sldLayoutId id="2147483670" r:id="rId27"/>
  </p:sldLayoutIdLst>
  <p:hf hdr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4400" b="1" kern="1200" cap="all" spc="400" baseline="0">
          <a:ln w="19050">
            <a:solidFill>
              <a:schemeClr val="accent2"/>
            </a:solidFill>
          </a:ln>
          <a:noFill/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5.jpeg"/><Relationship Id="rId13" Type="http://schemas.openxmlformats.org/officeDocument/2006/relationships/image" Target="../media/image80.jpeg"/><Relationship Id="rId3" Type="http://schemas.openxmlformats.org/officeDocument/2006/relationships/image" Target="../media/image70.jpeg"/><Relationship Id="rId7" Type="http://schemas.openxmlformats.org/officeDocument/2006/relationships/image" Target="../media/image74.jpeg"/><Relationship Id="rId12" Type="http://schemas.openxmlformats.org/officeDocument/2006/relationships/image" Target="../media/image79.jpeg"/><Relationship Id="rId17" Type="http://schemas.openxmlformats.org/officeDocument/2006/relationships/image" Target="../media/image84.jpeg"/><Relationship Id="rId2" Type="http://schemas.openxmlformats.org/officeDocument/2006/relationships/notesSlide" Target="../notesSlides/notesSlide7.xml"/><Relationship Id="rId16" Type="http://schemas.openxmlformats.org/officeDocument/2006/relationships/image" Target="../media/image83.jpeg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73.jpeg"/><Relationship Id="rId11" Type="http://schemas.openxmlformats.org/officeDocument/2006/relationships/image" Target="../media/image78.jpeg"/><Relationship Id="rId5" Type="http://schemas.openxmlformats.org/officeDocument/2006/relationships/image" Target="../media/image72.jpeg"/><Relationship Id="rId15" Type="http://schemas.openxmlformats.org/officeDocument/2006/relationships/image" Target="../media/image82.jpeg"/><Relationship Id="rId10" Type="http://schemas.openxmlformats.org/officeDocument/2006/relationships/image" Target="../media/image77.jpeg"/><Relationship Id="rId4" Type="http://schemas.openxmlformats.org/officeDocument/2006/relationships/image" Target="../media/image71.jpeg"/><Relationship Id="rId9" Type="http://schemas.openxmlformats.org/officeDocument/2006/relationships/image" Target="../media/image76.jpeg"/><Relationship Id="rId14" Type="http://schemas.openxmlformats.org/officeDocument/2006/relationships/image" Target="../media/image81.jpe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17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6.png"/><Relationship Id="rId1" Type="http://schemas.openxmlformats.org/officeDocument/2006/relationships/slideLayout" Target="../slideLayouts/slideLayout17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7.png"/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13" Type="http://schemas.openxmlformats.org/officeDocument/2006/relationships/image" Target="../media/image25.svg"/><Relationship Id="rId18" Type="http://schemas.openxmlformats.org/officeDocument/2006/relationships/image" Target="../media/image30.png"/><Relationship Id="rId26" Type="http://schemas.openxmlformats.org/officeDocument/2006/relationships/image" Target="../media/image38.png"/><Relationship Id="rId3" Type="http://schemas.openxmlformats.org/officeDocument/2006/relationships/notesSlide" Target="../notesSlides/notesSlide3.xml"/><Relationship Id="rId21" Type="http://schemas.openxmlformats.org/officeDocument/2006/relationships/image" Target="../media/image33.png"/><Relationship Id="rId7" Type="http://schemas.openxmlformats.org/officeDocument/2006/relationships/image" Target="../media/image19.svg"/><Relationship Id="rId12" Type="http://schemas.openxmlformats.org/officeDocument/2006/relationships/image" Target="../media/image24.png"/><Relationship Id="rId17" Type="http://schemas.openxmlformats.org/officeDocument/2006/relationships/image" Target="../media/image29.svg"/><Relationship Id="rId25" Type="http://schemas.openxmlformats.org/officeDocument/2006/relationships/image" Target="../media/image37.svg"/><Relationship Id="rId2" Type="http://schemas.openxmlformats.org/officeDocument/2006/relationships/slideLayout" Target="../slideLayouts/slideLayout3.xml"/><Relationship Id="rId16" Type="http://schemas.openxmlformats.org/officeDocument/2006/relationships/image" Target="../media/image28.png"/><Relationship Id="rId20" Type="http://schemas.openxmlformats.org/officeDocument/2006/relationships/image" Target="../media/image32.png"/><Relationship Id="rId29" Type="http://schemas.openxmlformats.org/officeDocument/2006/relationships/image" Target="../media/image41.svg"/><Relationship Id="rId1" Type="http://schemas.openxmlformats.org/officeDocument/2006/relationships/tags" Target="../tags/tag7.xml"/><Relationship Id="rId6" Type="http://schemas.openxmlformats.org/officeDocument/2006/relationships/image" Target="../media/image18.png"/><Relationship Id="rId11" Type="http://schemas.openxmlformats.org/officeDocument/2006/relationships/image" Target="../media/image23.svg"/><Relationship Id="rId24" Type="http://schemas.openxmlformats.org/officeDocument/2006/relationships/image" Target="../media/image36.png"/><Relationship Id="rId5" Type="http://schemas.openxmlformats.org/officeDocument/2006/relationships/image" Target="../media/image1.emf"/><Relationship Id="rId15" Type="http://schemas.openxmlformats.org/officeDocument/2006/relationships/image" Target="../media/image27.svg"/><Relationship Id="rId23" Type="http://schemas.openxmlformats.org/officeDocument/2006/relationships/image" Target="../media/image35.png"/><Relationship Id="rId28" Type="http://schemas.openxmlformats.org/officeDocument/2006/relationships/image" Target="../media/image40.png"/><Relationship Id="rId10" Type="http://schemas.openxmlformats.org/officeDocument/2006/relationships/image" Target="../media/image22.png"/><Relationship Id="rId19" Type="http://schemas.openxmlformats.org/officeDocument/2006/relationships/image" Target="../media/image31.svg"/><Relationship Id="rId4" Type="http://schemas.openxmlformats.org/officeDocument/2006/relationships/oleObject" Target="../embeddings/oleObject7.bin"/><Relationship Id="rId9" Type="http://schemas.openxmlformats.org/officeDocument/2006/relationships/image" Target="../media/image21.svg"/><Relationship Id="rId14" Type="http://schemas.openxmlformats.org/officeDocument/2006/relationships/image" Target="../media/image26.png"/><Relationship Id="rId22" Type="http://schemas.openxmlformats.org/officeDocument/2006/relationships/image" Target="../media/image34.png"/><Relationship Id="rId27" Type="http://schemas.openxmlformats.org/officeDocument/2006/relationships/image" Target="../media/image39.sv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svg"/><Relationship Id="rId13" Type="http://schemas.openxmlformats.org/officeDocument/2006/relationships/image" Target="../media/image48.png"/><Relationship Id="rId18" Type="http://schemas.openxmlformats.org/officeDocument/2006/relationships/image" Target="../media/image53.svg"/><Relationship Id="rId3" Type="http://schemas.openxmlformats.org/officeDocument/2006/relationships/oleObject" Target="../embeddings/oleObject8.bin"/><Relationship Id="rId7" Type="http://schemas.openxmlformats.org/officeDocument/2006/relationships/image" Target="../media/image44.png"/><Relationship Id="rId12" Type="http://schemas.openxmlformats.org/officeDocument/2006/relationships/image" Target="../media/image47.svg"/><Relationship Id="rId17" Type="http://schemas.openxmlformats.org/officeDocument/2006/relationships/image" Target="../media/image52.png"/><Relationship Id="rId2" Type="http://schemas.openxmlformats.org/officeDocument/2006/relationships/slideLayout" Target="../slideLayouts/slideLayout12.xml"/><Relationship Id="rId16" Type="http://schemas.openxmlformats.org/officeDocument/2006/relationships/image" Target="../media/image51.svg"/><Relationship Id="rId20" Type="http://schemas.openxmlformats.org/officeDocument/2006/relationships/image" Target="../media/image55.svg"/><Relationship Id="rId1" Type="http://schemas.openxmlformats.org/officeDocument/2006/relationships/tags" Target="../tags/tag8.xml"/><Relationship Id="rId6" Type="http://schemas.openxmlformats.org/officeDocument/2006/relationships/image" Target="../media/image43.svg"/><Relationship Id="rId11" Type="http://schemas.openxmlformats.org/officeDocument/2006/relationships/image" Target="../media/image46.png"/><Relationship Id="rId5" Type="http://schemas.openxmlformats.org/officeDocument/2006/relationships/image" Target="../media/image42.png"/><Relationship Id="rId15" Type="http://schemas.openxmlformats.org/officeDocument/2006/relationships/image" Target="../media/image50.png"/><Relationship Id="rId10" Type="http://schemas.openxmlformats.org/officeDocument/2006/relationships/image" Target="../media/image25.svg"/><Relationship Id="rId19" Type="http://schemas.openxmlformats.org/officeDocument/2006/relationships/image" Target="../media/image54.png"/><Relationship Id="rId4" Type="http://schemas.openxmlformats.org/officeDocument/2006/relationships/image" Target="../media/image1.emf"/><Relationship Id="rId9" Type="http://schemas.openxmlformats.org/officeDocument/2006/relationships/image" Target="../media/image24.png"/><Relationship Id="rId14" Type="http://schemas.openxmlformats.org/officeDocument/2006/relationships/image" Target="../media/image49.sv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png"/><Relationship Id="rId3" Type="http://schemas.openxmlformats.org/officeDocument/2006/relationships/video" Target="../media/media1.mp4"/><Relationship Id="rId7" Type="http://schemas.openxmlformats.org/officeDocument/2006/relationships/image" Target="../media/image1.emf"/><Relationship Id="rId2" Type="http://schemas.microsoft.com/office/2007/relationships/media" Target="../media/media1.mp4"/><Relationship Id="rId1" Type="http://schemas.openxmlformats.org/officeDocument/2006/relationships/tags" Target="../tags/tag9.x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57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png"/><Relationship Id="rId13" Type="http://schemas.openxmlformats.org/officeDocument/2006/relationships/image" Target="../media/image65.pn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59.png"/><Relationship Id="rId12" Type="http://schemas.openxmlformats.org/officeDocument/2006/relationships/image" Target="../media/image64.png"/><Relationship Id="rId17" Type="http://schemas.openxmlformats.org/officeDocument/2006/relationships/image" Target="../media/image69.jpeg"/><Relationship Id="rId2" Type="http://schemas.openxmlformats.org/officeDocument/2006/relationships/slideLayout" Target="../slideLayouts/slideLayout15.xml"/><Relationship Id="rId16" Type="http://schemas.openxmlformats.org/officeDocument/2006/relationships/image" Target="../media/image68.jpeg"/><Relationship Id="rId1" Type="http://schemas.openxmlformats.org/officeDocument/2006/relationships/tags" Target="../tags/tag10.xml"/><Relationship Id="rId6" Type="http://schemas.openxmlformats.org/officeDocument/2006/relationships/image" Target="../media/image58.png"/><Relationship Id="rId11" Type="http://schemas.openxmlformats.org/officeDocument/2006/relationships/image" Target="../media/image63.jpeg"/><Relationship Id="rId5" Type="http://schemas.openxmlformats.org/officeDocument/2006/relationships/image" Target="../media/image1.emf"/><Relationship Id="rId15" Type="http://schemas.openxmlformats.org/officeDocument/2006/relationships/image" Target="../media/image67.jpeg"/><Relationship Id="rId10" Type="http://schemas.openxmlformats.org/officeDocument/2006/relationships/image" Target="../media/image62.png"/><Relationship Id="rId4" Type="http://schemas.openxmlformats.org/officeDocument/2006/relationships/oleObject" Target="../embeddings/oleObject10.bin"/><Relationship Id="rId9" Type="http://schemas.openxmlformats.org/officeDocument/2006/relationships/image" Target="../media/image61.png"/><Relationship Id="rId14" Type="http://schemas.openxmlformats.org/officeDocument/2006/relationships/image" Target="../media/image66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7" name="Bildplatzhalter 76" descr="Eine Frau mit lilafarbener Brille mit Daten">
            <a:extLst>
              <a:ext uri="{FF2B5EF4-FFF2-40B4-BE49-F238E27FC236}">
                <a16:creationId xmlns:a16="http://schemas.microsoft.com/office/drawing/2014/main" id="{2F849723-3772-4844-AB3A-EF3DFAF34B83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752100" y="739303"/>
            <a:ext cx="6825035" cy="5379395"/>
          </a:xfrm>
        </p:spPr>
      </p:pic>
      <p:sp>
        <p:nvSpPr>
          <p:cNvPr id="22" name="Titel 21">
            <a:extLst>
              <a:ext uri="{FF2B5EF4-FFF2-40B4-BE49-F238E27FC236}">
                <a16:creationId xmlns:a16="http://schemas.microsoft.com/office/drawing/2014/main" id="{115C523A-AC40-4CBA-9DF4-B287ED3218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22977" y="1663435"/>
            <a:ext cx="5869021" cy="2003898"/>
          </a:xfrm>
        </p:spPr>
        <p:txBody>
          <a:bodyPr rtlCol="0"/>
          <a:lstStyle/>
          <a:p>
            <a:pPr rtl="0"/>
            <a:r>
              <a:rPr lang="de-DE" sz="3000" cap="none" err="1">
                <a:ln w="19050">
                  <a:solidFill>
                    <a:schemeClr val="accent5">
                      <a:alpha val="91000"/>
                    </a:schemeClr>
                  </a:solidFill>
                </a:ln>
              </a:rPr>
              <a:t>disQover</a:t>
            </a:r>
            <a:endParaRPr lang="de-DE" sz="3000">
              <a:ln w="19050">
                <a:solidFill>
                  <a:schemeClr val="accent5">
                    <a:alpha val="91000"/>
                  </a:schemeClr>
                </a:solidFill>
              </a:ln>
            </a:endParaRP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A770728-5086-E108-2080-91000A540D2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777003" y="2665384"/>
            <a:ext cx="4578569" cy="763616"/>
          </a:xfrm>
        </p:spPr>
        <p:txBody>
          <a:bodyPr/>
          <a:lstStyle/>
          <a:p>
            <a:r>
              <a:rPr lang="de-DE">
                <a:solidFill>
                  <a:schemeClr val="accent5"/>
                </a:solidFill>
              </a:rPr>
              <a:t>The AI </a:t>
            </a:r>
            <a:r>
              <a:rPr lang="de-DE" err="1">
                <a:solidFill>
                  <a:schemeClr val="accent5"/>
                </a:solidFill>
              </a:rPr>
              <a:t>tool</a:t>
            </a:r>
            <a:r>
              <a:rPr lang="de-DE">
                <a:solidFill>
                  <a:schemeClr val="accent5"/>
                </a:solidFill>
              </a:rPr>
              <a:t> </a:t>
            </a:r>
            <a:r>
              <a:rPr lang="de-DE" err="1">
                <a:solidFill>
                  <a:schemeClr val="accent5"/>
                </a:solidFill>
              </a:rPr>
              <a:t>to</a:t>
            </a:r>
            <a:r>
              <a:rPr lang="de-DE">
                <a:solidFill>
                  <a:schemeClr val="accent5"/>
                </a:solidFill>
              </a:rPr>
              <a:t> find, </a:t>
            </a:r>
            <a:r>
              <a:rPr lang="de-DE" err="1">
                <a:solidFill>
                  <a:schemeClr val="accent5"/>
                </a:solidFill>
              </a:rPr>
              <a:t>analyze</a:t>
            </a:r>
            <a:r>
              <a:rPr lang="de-DE">
                <a:solidFill>
                  <a:schemeClr val="accent5"/>
                </a:solidFill>
              </a:rPr>
              <a:t> and </a:t>
            </a:r>
            <a:r>
              <a:rPr lang="de-DE" err="1">
                <a:solidFill>
                  <a:schemeClr val="accent5"/>
                </a:solidFill>
              </a:rPr>
              <a:t>evaluate</a:t>
            </a:r>
            <a:r>
              <a:rPr lang="de-DE">
                <a:solidFill>
                  <a:schemeClr val="accent5"/>
                </a:solidFill>
              </a:rPr>
              <a:t> </a:t>
            </a:r>
            <a:r>
              <a:rPr lang="de-DE" err="1">
                <a:solidFill>
                  <a:schemeClr val="accent5"/>
                </a:solidFill>
              </a:rPr>
              <a:t>startups</a:t>
            </a:r>
            <a:endParaRPr lang="de-DE">
              <a:solidFill>
                <a:schemeClr val="accent5"/>
              </a:solidFill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D4E4C992-7CA3-FC5E-359C-F56368DF3EBB}"/>
              </a:ext>
            </a:extLst>
          </p:cNvPr>
          <p:cNvSpPr txBox="1"/>
          <p:nvPr/>
        </p:nvSpPr>
        <p:spPr>
          <a:xfrm>
            <a:off x="7945120" y="4323703"/>
            <a:ext cx="1496976" cy="10772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400">
                <a:solidFill>
                  <a:schemeClr val="bg1"/>
                </a:solidFill>
              </a:rPr>
              <a:t>Cosima Faller </a:t>
            </a:r>
          </a:p>
          <a:p>
            <a:r>
              <a:rPr lang="de-DE" sz="1400">
                <a:solidFill>
                  <a:schemeClr val="bg1"/>
                </a:solidFill>
              </a:rPr>
              <a:t>Florian Faller Alexander Haller </a:t>
            </a:r>
            <a:r>
              <a:rPr lang="de-DE" sz="1400" err="1">
                <a:solidFill>
                  <a:schemeClr val="bg1"/>
                </a:solidFill>
              </a:rPr>
              <a:t>Demyan</a:t>
            </a:r>
            <a:r>
              <a:rPr lang="de-DE" sz="1400">
                <a:solidFill>
                  <a:schemeClr val="bg1"/>
                </a:solidFill>
              </a:rPr>
              <a:t> </a:t>
            </a:r>
            <a:r>
              <a:rPr lang="de-DE" sz="1400" err="1">
                <a:solidFill>
                  <a:schemeClr val="bg1"/>
                </a:solidFill>
              </a:rPr>
              <a:t>Kurbatov</a:t>
            </a:r>
            <a:r>
              <a:rPr lang="de-DE" sz="1400">
                <a:solidFill>
                  <a:schemeClr val="bg1"/>
                </a:solidFill>
              </a:rPr>
              <a:t> </a:t>
            </a:r>
            <a:r>
              <a:rPr lang="de-DE" sz="1400" err="1">
                <a:solidFill>
                  <a:schemeClr val="bg1"/>
                </a:solidFill>
              </a:rPr>
              <a:t>Jijo</a:t>
            </a:r>
            <a:r>
              <a:rPr lang="de-DE" sz="1400">
                <a:solidFill>
                  <a:schemeClr val="bg1"/>
                </a:solidFill>
              </a:rPr>
              <a:t> </a:t>
            </a:r>
            <a:r>
              <a:rPr lang="de-DE" sz="1400" err="1">
                <a:solidFill>
                  <a:schemeClr val="bg1"/>
                </a:solidFill>
              </a:rPr>
              <a:t>Valiyaveettil</a:t>
            </a:r>
            <a:endParaRPr lang="de-DE" sz="1400">
              <a:solidFill>
                <a:schemeClr val="bg1"/>
              </a:solidFill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14DF17E4-32C1-4F40-A8FC-EFBDC121015E}"/>
              </a:ext>
            </a:extLst>
          </p:cNvPr>
          <p:cNvSpPr txBox="1"/>
          <p:nvPr/>
        </p:nvSpPr>
        <p:spPr>
          <a:xfrm>
            <a:off x="7945120" y="4006580"/>
            <a:ext cx="508151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400" b="1">
                <a:solidFill>
                  <a:schemeClr val="bg1"/>
                </a:solidFill>
              </a:rPr>
              <a:t>TEAM:</a:t>
            </a:r>
          </a:p>
        </p:txBody>
      </p:sp>
    </p:spTree>
    <p:extLst>
      <p:ext uri="{BB962C8B-B14F-4D97-AF65-F5344CB8AC3E}">
        <p14:creationId xmlns:p14="http://schemas.microsoft.com/office/powerpoint/2010/main" val="188383617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8731D6DD-5B8E-BA2C-AFBF-59039A4BF7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9ABB47F-6B4E-EE8C-C4BC-F82A2431541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7912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6" imgH="486" progId="TCLayout.ActiveDocument.1">
                  <p:embed/>
                </p:oleObj>
              </mc:Choice>
              <mc:Fallback>
                <p:oleObj name="think-cell Slide" r:id="rId3" imgW="486" imgH="48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9ABB47F-6B4E-EE8C-C4BC-F82A243154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0880260-F174-EFC5-92DA-6C332B5CA6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rtl="0"/>
            <a:r>
              <a:rPr lang="en-US" noProof="0"/>
              <a:t>Q-Hack 25</a:t>
            </a:r>
            <a:endParaRPr lang="de-DE" noProof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C57ADA5-2D38-C492-EC7E-4BA1AD049B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rtl="0"/>
            <a:r>
              <a:rPr lang="de-DE" noProof="0"/>
              <a:t>disQover Pitch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F288D72-83D6-A00C-AEE6-B7E337F6EC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rtl="0"/>
            <a:fld id="{A402E4C0-AD5E-4E8C-9F21-7CCE474BDCEB}" type="slidenum">
              <a:rPr lang="de-DE" noProof="0" smtClean="0"/>
              <a:pPr rtl="0"/>
              <a:t>10</a:t>
            </a:fld>
            <a:endParaRPr lang="de-DE" noProof="0"/>
          </a:p>
        </p:txBody>
      </p:sp>
      <p:sp>
        <p:nvSpPr>
          <p:cNvPr id="14" name="Titel 33">
            <a:extLst>
              <a:ext uri="{FF2B5EF4-FFF2-40B4-BE49-F238E27FC236}">
                <a16:creationId xmlns:a16="http://schemas.microsoft.com/office/drawing/2014/main" id="{0AB56A72-7AA5-700C-93BF-5EC9FD1B354D}"/>
              </a:ext>
            </a:extLst>
          </p:cNvPr>
          <p:cNvSpPr txBox="1">
            <a:spLocks/>
          </p:cNvSpPr>
          <p:nvPr/>
        </p:nvSpPr>
        <p:spPr>
          <a:xfrm>
            <a:off x="794508" y="990600"/>
            <a:ext cx="10559292" cy="468313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4400" b="1" kern="1200" cap="all" spc="400" baseline="0">
                <a:ln w="19050">
                  <a:solidFill>
                    <a:schemeClr val="accent2"/>
                  </a:solidFill>
                </a:ln>
                <a:noFill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2500">
                <a:ln w="19050">
                  <a:noFill/>
                </a:ln>
                <a:solidFill>
                  <a:schemeClr val="bg1"/>
                </a:solidFill>
              </a:rPr>
              <a:t>We have a scalable, intuitive </a:t>
            </a:r>
            <a:r>
              <a:rPr lang="en-US" sz="2500" err="1">
                <a:ln w="19050">
                  <a:noFill/>
                </a:ln>
                <a:solidFill>
                  <a:schemeClr val="bg1"/>
                </a:solidFill>
              </a:rPr>
              <a:t>saas</a:t>
            </a:r>
            <a:r>
              <a:rPr lang="en-US" sz="2500">
                <a:ln w="19050">
                  <a:noFill/>
                </a:ln>
                <a:solidFill>
                  <a:schemeClr val="bg1"/>
                </a:solidFill>
              </a:rPr>
              <a:t> model</a:t>
            </a:r>
          </a:p>
        </p:txBody>
      </p:sp>
      <p:sp>
        <p:nvSpPr>
          <p:cNvPr id="15" name="Titel 28">
            <a:extLst>
              <a:ext uri="{FF2B5EF4-FFF2-40B4-BE49-F238E27FC236}">
                <a16:creationId xmlns:a16="http://schemas.microsoft.com/office/drawing/2014/main" id="{05E01DE5-1A12-D61F-120A-ECB3DE921CB2}"/>
              </a:ext>
            </a:extLst>
          </p:cNvPr>
          <p:cNvSpPr txBox="1">
            <a:spLocks/>
          </p:cNvSpPr>
          <p:nvPr/>
        </p:nvSpPr>
        <p:spPr>
          <a:xfrm>
            <a:off x="794508" y="519712"/>
            <a:ext cx="3716532" cy="36576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 u="none" strike="noStrike" cap="all" spc="400" normalizeH="0" baseline="0">
                <a:ln w="19050">
                  <a:solidFill>
                    <a:schemeClr val="accent5"/>
                  </a:solidFill>
                </a:ln>
                <a:noFill/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sz="2000">
                <a:ln w="19050">
                  <a:solidFill>
                    <a:schemeClr val="accent5">
                      <a:alpha val="70000"/>
                    </a:schemeClr>
                  </a:solidFill>
                </a:ln>
              </a:rPr>
              <a:t>Business </a:t>
            </a:r>
            <a:r>
              <a:rPr lang="de-DE" sz="2000" err="1">
                <a:ln w="19050">
                  <a:solidFill>
                    <a:schemeClr val="accent5">
                      <a:alpha val="70000"/>
                    </a:schemeClr>
                  </a:solidFill>
                </a:ln>
              </a:rPr>
              <a:t>model</a:t>
            </a:r>
            <a:endParaRPr lang="de-DE" sz="2000">
              <a:ln w="19050">
                <a:solidFill>
                  <a:schemeClr val="accent5">
                    <a:alpha val="70000"/>
                  </a:schemeClr>
                </a:solidFill>
              </a:ln>
            </a:endParaRPr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A218BB02-4F77-7D22-AD57-14FD06F30D20}"/>
              </a:ext>
            </a:extLst>
          </p:cNvPr>
          <p:cNvGrpSpPr/>
          <p:nvPr/>
        </p:nvGrpSpPr>
        <p:grpSpPr>
          <a:xfrm>
            <a:off x="838199" y="2025569"/>
            <a:ext cx="10515601" cy="3965327"/>
            <a:chOff x="838199" y="2025569"/>
            <a:chExt cx="10515601" cy="3965327"/>
          </a:xfrm>
        </p:grpSpPr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598D76AA-6DE8-E15D-0685-8848E74B602B}"/>
                </a:ext>
              </a:extLst>
            </p:cNvPr>
            <p:cNvSpPr/>
            <p:nvPr/>
          </p:nvSpPr>
          <p:spPr>
            <a:xfrm>
              <a:off x="838199" y="2921446"/>
              <a:ext cx="3206506" cy="3062665"/>
            </a:xfrm>
            <a:prstGeom prst="rect">
              <a:avLst/>
            </a:prstGeom>
            <a:solidFill>
              <a:schemeClr val="accent4">
                <a:alpha val="14000"/>
              </a:schemeClr>
            </a:solidFill>
            <a:ln w="12700" cap="flat" cmpd="sng" algn="ctr">
              <a:solidFill>
                <a:schemeClr val="bg1"/>
              </a:solidFill>
              <a:prstDash val="dash"/>
              <a:miter lim="800000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lIns="108000" tIns="288000" rIns="108000" bIns="108000" rtlCol="0" anchor="t">
              <a:normAutofit/>
            </a:bodyPr>
            <a:lstStyle/>
            <a:p>
              <a:r>
                <a:rPr lang="en-US"/>
                <a:t>one week</a:t>
              </a:r>
            </a:p>
            <a:p>
              <a:r>
                <a:rPr lang="en-US" sz="3200" b="1"/>
                <a:t>0€ </a:t>
              </a:r>
              <a:r>
                <a:rPr lang="en-US" b="1"/>
                <a:t>per user </a:t>
              </a:r>
              <a:endParaRPr lang="en-US" sz="2400" b="1"/>
            </a:p>
            <a:p>
              <a:endParaRPr lang="en-US"/>
            </a:p>
            <a:p>
              <a:pPr marL="285750" indent="-285750">
                <a:buFont typeface="Wingdings" panose="05000000000000000000" pitchFamily="2" charset="2"/>
                <a:buChar char="ü"/>
              </a:pPr>
              <a:r>
                <a:rPr lang="en-US"/>
                <a:t>3 evaluations </a:t>
              </a:r>
            </a:p>
            <a:p>
              <a:pPr marL="285750" indent="-285750">
                <a:buFont typeface="Wingdings" panose="05000000000000000000" pitchFamily="2" charset="2"/>
                <a:buChar char="ü"/>
              </a:pPr>
              <a:r>
                <a:rPr lang="en-US"/>
                <a:t>Basic Scoring</a:t>
              </a: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67910F27-C0EC-877A-32E4-A823FBD54506}"/>
                </a:ext>
              </a:extLst>
            </p:cNvPr>
            <p:cNvSpPr/>
            <p:nvPr/>
          </p:nvSpPr>
          <p:spPr>
            <a:xfrm>
              <a:off x="838199" y="2025569"/>
              <a:ext cx="3206506" cy="895878"/>
            </a:xfrm>
            <a:prstGeom prst="rect">
              <a:avLst/>
            </a:prstGeom>
            <a:solidFill>
              <a:schemeClr val="accent4">
                <a:lumMod val="75000"/>
                <a:alpha val="25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miter lim="800000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lIns="0" tIns="0" rIns="0" bIns="0" rtlCol="0" anchor="ctr">
              <a:normAutofit/>
            </a:bodyPr>
            <a:lstStyle/>
            <a:p>
              <a:pPr algn="ctr">
                <a:spcBef>
                  <a:spcPts val="1000"/>
                </a:spcBef>
              </a:pPr>
              <a:r>
                <a:rPr lang="en-US" sz="2400" b="1" cap="all" spc="200"/>
                <a:t>Free trial</a:t>
              </a: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92E72534-BE17-E3C3-B6CE-64F4BAC8E69C}"/>
                </a:ext>
              </a:extLst>
            </p:cNvPr>
            <p:cNvSpPr/>
            <p:nvPr/>
          </p:nvSpPr>
          <p:spPr>
            <a:xfrm>
              <a:off x="4492746" y="2921446"/>
              <a:ext cx="3206506" cy="3062665"/>
            </a:xfrm>
            <a:prstGeom prst="rect">
              <a:avLst/>
            </a:prstGeom>
            <a:solidFill>
              <a:schemeClr val="accent4">
                <a:alpha val="14000"/>
              </a:schemeClr>
            </a:solidFill>
            <a:ln w="12700" cap="flat" cmpd="sng" algn="ctr">
              <a:solidFill>
                <a:schemeClr val="bg1"/>
              </a:solidFill>
              <a:prstDash val="dash"/>
              <a:miter lim="800000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lIns="108000" tIns="288000" rIns="108000" bIns="108000" rtlCol="0" anchor="t">
              <a:normAutofit/>
            </a:bodyPr>
            <a:lstStyle/>
            <a:p>
              <a:r>
                <a:rPr lang="en-US"/>
                <a:t>monthly</a:t>
              </a:r>
            </a:p>
            <a:p>
              <a:r>
                <a:rPr lang="en-US" sz="3200" b="1"/>
                <a:t>69€ </a:t>
              </a:r>
              <a:r>
                <a:rPr lang="en-US" b="1"/>
                <a:t>per user</a:t>
              </a:r>
              <a:endParaRPr lang="en-US" sz="2400" b="1"/>
            </a:p>
            <a:p>
              <a:endParaRPr lang="en-US"/>
            </a:p>
            <a:p>
              <a:pPr marL="285750" indent="-285750">
                <a:buFont typeface="Wingdings" panose="05000000000000000000" pitchFamily="2" charset="2"/>
                <a:buChar char="ü"/>
              </a:pPr>
              <a:r>
                <a:rPr lang="en-US"/>
                <a:t>10 evaluations/month</a:t>
              </a:r>
            </a:p>
            <a:p>
              <a:pPr marL="285750" indent="-285750">
                <a:buFont typeface="Wingdings" panose="05000000000000000000" pitchFamily="2" charset="2"/>
                <a:buChar char="ü"/>
              </a:pPr>
              <a:r>
                <a:rPr lang="en-US"/>
                <a:t>Complete scoring</a:t>
              </a:r>
            </a:p>
            <a:p>
              <a:pPr marL="285750" indent="-285750">
                <a:buFont typeface="Wingdings" panose="05000000000000000000" pitchFamily="2" charset="2"/>
                <a:buChar char="ü"/>
              </a:pPr>
              <a:r>
                <a:rPr lang="en-US"/>
                <a:t>Industry deep dives </a:t>
              </a: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C2D5CA95-3A0C-EAC0-E928-1D28378B1AE7}"/>
                </a:ext>
              </a:extLst>
            </p:cNvPr>
            <p:cNvSpPr/>
            <p:nvPr/>
          </p:nvSpPr>
          <p:spPr>
            <a:xfrm>
              <a:off x="4492746" y="2025569"/>
              <a:ext cx="3206506" cy="895878"/>
            </a:xfrm>
            <a:prstGeom prst="rect">
              <a:avLst/>
            </a:prstGeom>
            <a:solidFill>
              <a:schemeClr val="accent4">
                <a:lumMod val="75000"/>
                <a:alpha val="25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miter lim="800000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lIns="0" tIns="0" rIns="0" bIns="0" rtlCol="0" anchor="ctr">
              <a:normAutofit/>
            </a:bodyPr>
            <a:lstStyle/>
            <a:p>
              <a:pPr algn="ctr">
                <a:spcBef>
                  <a:spcPts val="1000"/>
                </a:spcBef>
              </a:pPr>
              <a:r>
                <a:rPr lang="en-US" sz="2400" b="1" cap="all" spc="200"/>
                <a:t>Basic</a:t>
              </a: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0C55DC71-1A25-02D4-9D00-E47B13372B8A}"/>
                </a:ext>
              </a:extLst>
            </p:cNvPr>
            <p:cNvSpPr/>
            <p:nvPr/>
          </p:nvSpPr>
          <p:spPr>
            <a:xfrm>
              <a:off x="8147294" y="2928231"/>
              <a:ext cx="3206506" cy="3062665"/>
            </a:xfrm>
            <a:prstGeom prst="rect">
              <a:avLst/>
            </a:prstGeom>
            <a:solidFill>
              <a:schemeClr val="accent4">
                <a:alpha val="14000"/>
              </a:schemeClr>
            </a:solidFill>
            <a:ln w="12700" cap="flat" cmpd="sng" algn="ctr">
              <a:solidFill>
                <a:schemeClr val="bg1"/>
              </a:solidFill>
              <a:prstDash val="dash"/>
              <a:miter lim="800000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lIns="108000" tIns="288000" rIns="108000" bIns="108000" rtlCol="0" anchor="t">
              <a:normAutofit/>
            </a:bodyPr>
            <a:lstStyle/>
            <a:p>
              <a:r>
                <a:rPr lang="en-US"/>
                <a:t>monthly </a:t>
              </a:r>
            </a:p>
            <a:p>
              <a:r>
                <a:rPr lang="en-US" sz="3200" b="1"/>
                <a:t>2690€ </a:t>
              </a:r>
              <a:r>
                <a:rPr lang="en-US" sz="2000" b="1"/>
                <a:t>per company</a:t>
              </a:r>
              <a:endParaRPr lang="en-US" sz="2600" b="1"/>
            </a:p>
            <a:p>
              <a:endParaRPr lang="en-US"/>
            </a:p>
            <a:p>
              <a:pPr marL="285750" indent="-285750">
                <a:buFont typeface="Wingdings" panose="05000000000000000000" pitchFamily="2" charset="2"/>
                <a:buChar char="ü"/>
              </a:pPr>
              <a:r>
                <a:rPr lang="en-US"/>
                <a:t>Unlimited  evaluations</a:t>
              </a:r>
            </a:p>
            <a:p>
              <a:pPr marL="285750" indent="-285750">
                <a:buFont typeface="Wingdings" panose="05000000000000000000" pitchFamily="2" charset="2"/>
                <a:buChar char="ü"/>
              </a:pPr>
              <a:r>
                <a:rPr lang="en-US"/>
                <a:t>Industry deep dives </a:t>
              </a:r>
            </a:p>
            <a:p>
              <a:pPr marL="285750" indent="-285750">
                <a:buFont typeface="Wingdings" panose="05000000000000000000" pitchFamily="2" charset="2"/>
                <a:buChar char="ü"/>
              </a:pPr>
              <a:r>
                <a:rPr lang="en-US" err="1"/>
                <a:t>Dealflow</a:t>
              </a:r>
              <a:r>
                <a:rPr lang="en-US"/>
                <a:t>-Integration (CRM)</a:t>
              </a:r>
            </a:p>
            <a:p>
              <a:pPr marL="285750" indent="-285750">
                <a:buFont typeface="Wingdings" panose="05000000000000000000" pitchFamily="2" charset="2"/>
                <a:buChar char="ü"/>
              </a:pPr>
              <a:r>
                <a:rPr lang="en-US"/>
                <a:t>Investment Recommendations</a:t>
              </a:r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A22997EB-5C5A-AC03-0E20-5A0174E112CC}"/>
                </a:ext>
              </a:extLst>
            </p:cNvPr>
            <p:cNvSpPr/>
            <p:nvPr/>
          </p:nvSpPr>
          <p:spPr>
            <a:xfrm>
              <a:off x="8147294" y="2032354"/>
              <a:ext cx="3206506" cy="895878"/>
            </a:xfrm>
            <a:prstGeom prst="rect">
              <a:avLst/>
            </a:prstGeom>
            <a:solidFill>
              <a:schemeClr val="accent4">
                <a:lumMod val="75000"/>
                <a:alpha val="25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miter lim="800000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lIns="0" tIns="0" rIns="0" bIns="0" rtlCol="0" anchor="ctr">
              <a:normAutofit/>
            </a:bodyPr>
            <a:lstStyle/>
            <a:p>
              <a:pPr algn="ctr">
                <a:spcBef>
                  <a:spcPts val="1000"/>
                </a:spcBef>
              </a:pPr>
              <a:r>
                <a:rPr lang="en-US" sz="2400" b="1" cap="all" spc="200"/>
                <a:t>Premium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386767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6C21EF4-29BD-647B-2AE9-7BAD97FC10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6C48F5FC-3FF1-69C2-9A7B-20C96CF57F2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34636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6" imgH="486" progId="TCLayout.ActiveDocument.1">
                  <p:embed/>
                </p:oleObj>
              </mc:Choice>
              <mc:Fallback>
                <p:oleObj name="think-cell Slide" r:id="rId3" imgW="486" imgH="48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48F5FC-3FF1-69C2-9A7B-20C96CF57F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el 33">
            <a:extLst>
              <a:ext uri="{FF2B5EF4-FFF2-40B4-BE49-F238E27FC236}">
                <a16:creationId xmlns:a16="http://schemas.microsoft.com/office/drawing/2014/main" id="{AF47C9AC-C046-DE8E-967C-EB1CF27F326F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794508" y="990600"/>
            <a:ext cx="10422132" cy="468313"/>
          </a:xfrm>
        </p:spPr>
        <p:txBody>
          <a:bodyPr vert="horz" rtlCol="0">
            <a:normAutofit fontScale="90000"/>
          </a:bodyPr>
          <a:lstStyle/>
          <a:p>
            <a:pPr>
              <a:lnSpc>
                <a:spcPct val="100000"/>
              </a:lnSpc>
            </a:pPr>
            <a:r>
              <a:rPr lang="en-US" sz="2500">
                <a:ln w="19050">
                  <a:noFill/>
                </a:ln>
                <a:solidFill>
                  <a:schemeClr val="bg1"/>
                </a:solidFill>
              </a:rPr>
              <a:t>We can scale horizontally and vertically</a:t>
            </a:r>
          </a:p>
        </p:txBody>
      </p:sp>
      <p:sp>
        <p:nvSpPr>
          <p:cNvPr id="14" name="Titel 28">
            <a:extLst>
              <a:ext uri="{FF2B5EF4-FFF2-40B4-BE49-F238E27FC236}">
                <a16:creationId xmlns:a16="http://schemas.microsoft.com/office/drawing/2014/main" id="{F1ED2647-781A-6AA7-AEF2-5F93B65EA5A3}"/>
              </a:ext>
            </a:extLst>
          </p:cNvPr>
          <p:cNvSpPr txBox="1">
            <a:spLocks/>
          </p:cNvSpPr>
          <p:nvPr/>
        </p:nvSpPr>
        <p:spPr>
          <a:xfrm>
            <a:off x="794508" y="519712"/>
            <a:ext cx="3106932" cy="36576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 u="none" strike="noStrike" cap="all" spc="400" normalizeH="0" baseline="0">
                <a:ln w="19050">
                  <a:solidFill>
                    <a:schemeClr val="accent5"/>
                  </a:solidFill>
                </a:ln>
                <a:noFill/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sz="2000">
                <a:ln w="19050">
                  <a:solidFill>
                    <a:schemeClr val="accent5">
                      <a:alpha val="70000"/>
                    </a:schemeClr>
                  </a:solidFill>
                </a:ln>
              </a:rPr>
              <a:t>Market</a:t>
            </a:r>
          </a:p>
        </p:txBody>
      </p:sp>
      <p:sp>
        <p:nvSpPr>
          <p:cNvPr id="27" name="Date Placeholder 26">
            <a:extLst>
              <a:ext uri="{FF2B5EF4-FFF2-40B4-BE49-F238E27FC236}">
                <a16:creationId xmlns:a16="http://schemas.microsoft.com/office/drawing/2014/main" id="{3F43B8AD-08FC-01BF-49ED-B5012A191A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rtl="0"/>
            <a:r>
              <a:rPr lang="en-US" noProof="0"/>
              <a:t>Q-Hack 25</a:t>
            </a:r>
            <a:endParaRPr lang="de-DE" noProof="0"/>
          </a:p>
        </p:txBody>
      </p:sp>
      <p:sp>
        <p:nvSpPr>
          <p:cNvPr id="28" name="Footer Placeholder 27">
            <a:extLst>
              <a:ext uri="{FF2B5EF4-FFF2-40B4-BE49-F238E27FC236}">
                <a16:creationId xmlns:a16="http://schemas.microsoft.com/office/drawing/2014/main" id="{209B4A24-2296-A14E-101E-C8D8067BD7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rtl="0"/>
            <a:r>
              <a:rPr lang="de-DE" noProof="0"/>
              <a:t>disQover Pitch</a:t>
            </a:r>
          </a:p>
        </p:txBody>
      </p:sp>
      <p:sp>
        <p:nvSpPr>
          <p:cNvPr id="29" name="Slide Number Placeholder 28">
            <a:extLst>
              <a:ext uri="{FF2B5EF4-FFF2-40B4-BE49-F238E27FC236}">
                <a16:creationId xmlns:a16="http://schemas.microsoft.com/office/drawing/2014/main" id="{C23F83C9-2E82-B026-748D-40720E2CC3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rtl="0"/>
            <a:fld id="{A402E4C0-AD5E-4E8C-9F21-7CCE474BDCEB}" type="slidenum">
              <a:rPr lang="de-DE" noProof="0" smtClean="0"/>
              <a:t>11</a:t>
            </a:fld>
            <a:endParaRPr lang="de-DE" noProof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008F404-F391-6D88-B17E-1C5DB703442C}"/>
              </a:ext>
            </a:extLst>
          </p:cNvPr>
          <p:cNvSpPr/>
          <p:nvPr/>
        </p:nvSpPr>
        <p:spPr>
          <a:xfrm>
            <a:off x="4383031" y="3961569"/>
            <a:ext cx="2146696" cy="877154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b="1">
                <a:solidFill>
                  <a:schemeClr val="bg1"/>
                </a:solidFill>
              </a:rPr>
              <a:t>Startup Evaluation for SaaS Tools</a:t>
            </a: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2425C97C-E5B3-8E59-02B7-AD84B71E9604}"/>
              </a:ext>
            </a:extLst>
          </p:cNvPr>
          <p:cNvGrpSpPr/>
          <p:nvPr/>
        </p:nvGrpSpPr>
        <p:grpSpPr>
          <a:xfrm>
            <a:off x="4650169" y="2138435"/>
            <a:ext cx="1615440" cy="1688757"/>
            <a:chOff x="4894009" y="2138435"/>
            <a:chExt cx="1615440" cy="1688757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A8E9E532-3A83-0D69-062F-1788EBFD9148}"/>
                </a:ext>
              </a:extLst>
            </p:cNvPr>
            <p:cNvSpPr/>
            <p:nvPr/>
          </p:nvSpPr>
          <p:spPr>
            <a:xfrm>
              <a:off x="4894009" y="3167112"/>
              <a:ext cx="1615440" cy="660080"/>
            </a:xfrm>
            <a:prstGeom prst="rect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800">
                  <a:solidFill>
                    <a:schemeClr val="bg1"/>
                  </a:solidFill>
                </a:rPr>
                <a:t>Startup Outreach</a:t>
              </a:r>
            </a:p>
          </p:txBody>
        </p:sp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4C6618E8-0417-3DCD-05BF-2E84C928C469}"/>
                </a:ext>
              </a:extLst>
            </p:cNvPr>
            <p:cNvGrpSpPr/>
            <p:nvPr/>
          </p:nvGrpSpPr>
          <p:grpSpPr>
            <a:xfrm>
              <a:off x="4894009" y="2138435"/>
              <a:ext cx="1615440" cy="894300"/>
              <a:chOff x="843280" y="1645920"/>
              <a:chExt cx="1615440" cy="894300"/>
            </a:xfrm>
          </p:grpSpPr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02E3B5EB-AF7B-F48B-636B-677334485B1B}"/>
                  </a:ext>
                </a:extLst>
              </p:cNvPr>
              <p:cNvSpPr/>
              <p:nvPr/>
            </p:nvSpPr>
            <p:spPr>
              <a:xfrm>
                <a:off x="843280" y="1880140"/>
                <a:ext cx="1615440" cy="660080"/>
              </a:xfrm>
              <a:prstGeom prst="rect">
                <a:avLst/>
              </a:prstGeom>
              <a:noFill/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800">
                    <a:solidFill>
                      <a:schemeClr val="bg1"/>
                    </a:solidFill>
                  </a:rPr>
                  <a:t>Market Insights </a:t>
                </a:r>
              </a:p>
            </p:txBody>
          </p:sp>
          <p:cxnSp>
            <p:nvCxnSpPr>
              <p:cNvPr id="34" name="Straight Arrow Connector 33">
                <a:extLst>
                  <a:ext uri="{FF2B5EF4-FFF2-40B4-BE49-F238E27FC236}">
                    <a16:creationId xmlns:a16="http://schemas.microsoft.com/office/drawing/2014/main" id="{8D652B20-E6C8-3A3D-F346-65C72497FF29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651000" y="1645920"/>
                <a:ext cx="0" cy="234220"/>
              </a:xfrm>
              <a:prstGeom prst="straightConnector1">
                <a:avLst/>
              </a:prstGeom>
              <a:ln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32169D02-5A72-B70C-5650-9A47570CD235}"/>
              </a:ext>
            </a:extLst>
          </p:cNvPr>
          <p:cNvGrpSpPr/>
          <p:nvPr/>
        </p:nvGrpSpPr>
        <p:grpSpPr>
          <a:xfrm>
            <a:off x="4650169" y="4973100"/>
            <a:ext cx="1615440" cy="894300"/>
            <a:chOff x="843280" y="5275042"/>
            <a:chExt cx="1615440" cy="894300"/>
          </a:xfrm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A75E320C-9E47-5CEE-7715-B7780B92A63A}"/>
                </a:ext>
              </a:extLst>
            </p:cNvPr>
            <p:cNvSpPr/>
            <p:nvPr/>
          </p:nvSpPr>
          <p:spPr>
            <a:xfrm>
              <a:off x="843280" y="5275042"/>
              <a:ext cx="1615440" cy="660080"/>
            </a:xfrm>
            <a:prstGeom prst="rect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800">
                  <a:solidFill>
                    <a:schemeClr val="bg1"/>
                  </a:solidFill>
                </a:rPr>
                <a:t>Startup Crawler</a:t>
              </a:r>
            </a:p>
          </p:txBody>
        </p:sp>
        <p:cxnSp>
          <p:nvCxnSpPr>
            <p:cNvPr id="36" name="Straight Arrow Connector 35">
              <a:extLst>
                <a:ext uri="{FF2B5EF4-FFF2-40B4-BE49-F238E27FC236}">
                  <a16:creationId xmlns:a16="http://schemas.microsoft.com/office/drawing/2014/main" id="{4B796AAA-56FF-81AD-C399-8E28763FBCFB}"/>
                </a:ext>
              </a:extLst>
            </p:cNvPr>
            <p:cNvCxnSpPr>
              <a:cxnSpLocks/>
            </p:cNvCxnSpPr>
            <p:nvPr/>
          </p:nvCxnSpPr>
          <p:spPr>
            <a:xfrm>
              <a:off x="1651000" y="5935122"/>
              <a:ext cx="0" cy="234220"/>
            </a:xfrm>
            <a:prstGeom prst="straightConnector1">
              <a:avLst/>
            </a:prstGeom>
            <a:ln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1CA3C17A-FCEA-EDF7-04FD-D37D82B4AA93}"/>
              </a:ext>
            </a:extLst>
          </p:cNvPr>
          <p:cNvGrpSpPr/>
          <p:nvPr/>
        </p:nvGrpSpPr>
        <p:grpSpPr>
          <a:xfrm>
            <a:off x="6645034" y="4070106"/>
            <a:ext cx="5018730" cy="668839"/>
            <a:chOff x="6888874" y="4070106"/>
            <a:chExt cx="5018730" cy="668839"/>
          </a:xfrm>
        </p:grpSpPr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FBE4F681-00DD-F15C-5633-6C27E4FDB31A}"/>
                </a:ext>
              </a:extLst>
            </p:cNvPr>
            <p:cNvSpPr/>
            <p:nvPr/>
          </p:nvSpPr>
          <p:spPr>
            <a:xfrm>
              <a:off x="6888874" y="4078864"/>
              <a:ext cx="1475302" cy="660080"/>
            </a:xfrm>
            <a:prstGeom prst="rect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800">
                  <a:solidFill>
                    <a:schemeClr val="bg1"/>
                  </a:solidFill>
                </a:rPr>
                <a:t>HealthTech</a:t>
              </a:r>
            </a:p>
          </p:txBody>
        </p:sp>
        <p:grpSp>
          <p:nvGrpSpPr>
            <p:cNvPr id="47" name="Group 46">
              <a:extLst>
                <a:ext uri="{FF2B5EF4-FFF2-40B4-BE49-F238E27FC236}">
                  <a16:creationId xmlns:a16="http://schemas.microsoft.com/office/drawing/2014/main" id="{70B04A9E-73CE-0960-5CF3-2DB51F17CC15}"/>
                </a:ext>
              </a:extLst>
            </p:cNvPr>
            <p:cNvGrpSpPr/>
            <p:nvPr/>
          </p:nvGrpSpPr>
          <p:grpSpPr>
            <a:xfrm>
              <a:off x="10012239" y="4070106"/>
              <a:ext cx="1895365" cy="660080"/>
              <a:chOff x="7994603" y="3577591"/>
              <a:chExt cx="1895365" cy="660080"/>
            </a:xfrm>
          </p:grpSpPr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C8F076CE-FD90-B176-B2FE-E279AE523D9C}"/>
                  </a:ext>
                </a:extLst>
              </p:cNvPr>
              <p:cNvSpPr/>
              <p:nvPr/>
            </p:nvSpPr>
            <p:spPr>
              <a:xfrm>
                <a:off x="7994603" y="3577591"/>
                <a:ext cx="1580405" cy="660080"/>
              </a:xfrm>
              <a:prstGeom prst="rect">
                <a:avLst/>
              </a:prstGeom>
              <a:noFill/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800">
                    <a:solidFill>
                      <a:schemeClr val="bg1"/>
                    </a:solidFill>
                  </a:rPr>
                  <a:t>Construction</a:t>
                </a:r>
              </a:p>
              <a:p>
                <a:pPr algn="ctr"/>
                <a:r>
                  <a:rPr lang="en-US" sz="1800">
                    <a:solidFill>
                      <a:schemeClr val="bg1"/>
                    </a:solidFill>
                  </a:rPr>
                  <a:t>Tech</a:t>
                </a:r>
              </a:p>
            </p:txBody>
          </p:sp>
          <p:cxnSp>
            <p:nvCxnSpPr>
              <p:cNvPr id="45" name="Straight Arrow Connector 44">
                <a:extLst>
                  <a:ext uri="{FF2B5EF4-FFF2-40B4-BE49-F238E27FC236}">
                    <a16:creationId xmlns:a16="http://schemas.microsoft.com/office/drawing/2014/main" id="{CAC2C0E7-E425-8755-1E2C-02659717CE8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575008" y="3907631"/>
                <a:ext cx="314960" cy="0"/>
              </a:xfrm>
              <a:prstGeom prst="straightConnector1">
                <a:avLst/>
              </a:prstGeom>
              <a:ln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6" name="Rectangle 39">
              <a:extLst>
                <a:ext uri="{FF2B5EF4-FFF2-40B4-BE49-F238E27FC236}">
                  <a16:creationId xmlns:a16="http://schemas.microsoft.com/office/drawing/2014/main" id="{374A944C-8CC9-8BFC-164F-83A85A3B7CF4}"/>
                </a:ext>
              </a:extLst>
            </p:cNvPr>
            <p:cNvSpPr/>
            <p:nvPr/>
          </p:nvSpPr>
          <p:spPr>
            <a:xfrm>
              <a:off x="8474182" y="4078865"/>
              <a:ext cx="1440268" cy="660080"/>
            </a:xfrm>
            <a:prstGeom prst="rect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algn="ctr"/>
              <a:r>
                <a:rPr lang="en-US">
                  <a:solidFill>
                    <a:schemeClr val="bg1"/>
                  </a:solidFill>
                </a:rPr>
                <a:t>FinTech</a:t>
              </a:r>
              <a:endParaRPr lang="en-US" sz="1800">
                <a:solidFill>
                  <a:schemeClr val="bg1"/>
                </a:solidFill>
              </a:endParaRPr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8F4B70C6-39A3-B285-70B1-857789F62F43}"/>
              </a:ext>
            </a:extLst>
          </p:cNvPr>
          <p:cNvGrpSpPr/>
          <p:nvPr/>
        </p:nvGrpSpPr>
        <p:grpSpPr>
          <a:xfrm>
            <a:off x="515532" y="4070104"/>
            <a:ext cx="3715974" cy="660082"/>
            <a:chOff x="759372" y="4070104"/>
            <a:chExt cx="3715974" cy="660082"/>
          </a:xfrm>
        </p:grpSpPr>
        <p:grpSp>
          <p:nvGrpSpPr>
            <p:cNvPr id="46" name="Group 45">
              <a:extLst>
                <a:ext uri="{FF2B5EF4-FFF2-40B4-BE49-F238E27FC236}">
                  <a16:creationId xmlns:a16="http://schemas.microsoft.com/office/drawing/2014/main" id="{B2A93CFC-B3A5-BCC7-15C4-5CC8C9B17186}"/>
                </a:ext>
              </a:extLst>
            </p:cNvPr>
            <p:cNvGrpSpPr/>
            <p:nvPr/>
          </p:nvGrpSpPr>
          <p:grpSpPr>
            <a:xfrm>
              <a:off x="759372" y="4070106"/>
              <a:ext cx="1930400" cy="660080"/>
              <a:chOff x="1894840" y="3577591"/>
              <a:chExt cx="1930400" cy="660080"/>
            </a:xfrm>
          </p:grpSpPr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63D73610-6124-A07B-2015-798103B07720}"/>
                  </a:ext>
                </a:extLst>
              </p:cNvPr>
              <p:cNvSpPr/>
              <p:nvPr/>
            </p:nvSpPr>
            <p:spPr>
              <a:xfrm>
                <a:off x="2209800" y="3577591"/>
                <a:ext cx="1615440" cy="660080"/>
              </a:xfrm>
              <a:prstGeom prst="rect">
                <a:avLst/>
              </a:prstGeom>
              <a:noFill/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800" err="1">
                    <a:solidFill>
                      <a:schemeClr val="bg1"/>
                    </a:solidFill>
                  </a:rPr>
                  <a:t>AgTech</a:t>
                </a:r>
                <a:endParaRPr lang="en-US" sz="1800">
                  <a:solidFill>
                    <a:schemeClr val="bg1"/>
                  </a:solidFill>
                </a:endParaRPr>
              </a:p>
            </p:txBody>
          </p:sp>
          <p:cxnSp>
            <p:nvCxnSpPr>
              <p:cNvPr id="44" name="Straight Arrow Connector 43">
                <a:extLst>
                  <a:ext uri="{FF2B5EF4-FFF2-40B4-BE49-F238E27FC236}">
                    <a16:creationId xmlns:a16="http://schemas.microsoft.com/office/drawing/2014/main" id="{217E3B3B-3D7F-3806-22E8-7139A27DB267}"/>
                  </a:ext>
                </a:extLst>
              </p:cNvPr>
              <p:cNvCxnSpPr/>
              <p:nvPr/>
            </p:nvCxnSpPr>
            <p:spPr>
              <a:xfrm flipH="1">
                <a:off x="1894840" y="3907631"/>
                <a:ext cx="314960" cy="0"/>
              </a:xfrm>
              <a:prstGeom prst="straightConnector1">
                <a:avLst/>
              </a:prstGeom>
              <a:ln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7" name="Rectangle 39">
              <a:extLst>
                <a:ext uri="{FF2B5EF4-FFF2-40B4-BE49-F238E27FC236}">
                  <a16:creationId xmlns:a16="http://schemas.microsoft.com/office/drawing/2014/main" id="{7AFC1E49-2405-E12A-5505-E377091BD669}"/>
                </a:ext>
              </a:extLst>
            </p:cNvPr>
            <p:cNvSpPr/>
            <p:nvPr/>
          </p:nvSpPr>
          <p:spPr>
            <a:xfrm>
              <a:off x="2859906" y="4070104"/>
              <a:ext cx="1615440" cy="660080"/>
            </a:xfrm>
            <a:prstGeom prst="rect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algn="ctr"/>
              <a:r>
                <a:rPr lang="en-US" err="1">
                  <a:solidFill>
                    <a:schemeClr val="bg1"/>
                  </a:solidFill>
                </a:rPr>
                <a:t>ClimateTech</a:t>
              </a:r>
              <a:endParaRPr lang="en-US" sz="1800" err="1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386767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0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8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A62FE010-38E8-44E7-1FD1-7053C67F7A5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79479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6" imgH="486" progId="TCLayout.ActiveDocument.1">
                  <p:embed/>
                </p:oleObj>
              </mc:Choice>
              <mc:Fallback>
                <p:oleObj name="think-cell Slide" r:id="rId3" imgW="486" imgH="48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62FE010-38E8-44E7-1FD1-7053C67F7A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1901CDB-0D34-A1A3-7A20-6385B3CF3A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rtl="0"/>
            <a:r>
              <a:rPr lang="en-US" noProof="0"/>
              <a:t>Q-Hack 25</a:t>
            </a:r>
            <a:endParaRPr lang="de-DE" noProof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57C21AB-AEFC-C88F-F600-8C6EDFB32C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rtl="0"/>
            <a:r>
              <a:rPr lang="de-DE" noProof="0"/>
              <a:t>disQover Pitch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A4700BC-9098-54A1-42B7-2267C23DA8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rtl="0"/>
            <a:fld id="{A402E4C0-AD5E-4E8C-9F21-7CCE474BDCEB}" type="slidenum">
              <a:rPr lang="de-DE" noProof="0" smtClean="0"/>
              <a:pPr rtl="0"/>
              <a:t>12</a:t>
            </a:fld>
            <a:endParaRPr lang="de-DE" noProof="0"/>
          </a:p>
        </p:txBody>
      </p:sp>
      <p:sp>
        <p:nvSpPr>
          <p:cNvPr id="5" name="Titel 33">
            <a:extLst>
              <a:ext uri="{FF2B5EF4-FFF2-40B4-BE49-F238E27FC236}">
                <a16:creationId xmlns:a16="http://schemas.microsoft.com/office/drawing/2014/main" id="{C9674510-0469-C73E-0C75-C3082C4175DA}"/>
              </a:ext>
            </a:extLst>
          </p:cNvPr>
          <p:cNvSpPr txBox="1">
            <a:spLocks/>
          </p:cNvSpPr>
          <p:nvPr/>
        </p:nvSpPr>
        <p:spPr>
          <a:xfrm>
            <a:off x="794507" y="990600"/>
            <a:ext cx="11681291" cy="468313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4400" b="1" kern="1200" cap="all" spc="400" baseline="0">
                <a:ln w="19050">
                  <a:solidFill>
                    <a:schemeClr val="accent2"/>
                  </a:solidFill>
                </a:ln>
                <a:noFill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2500" spc="300">
                <a:ln w="19050">
                  <a:noFill/>
                </a:ln>
                <a:solidFill>
                  <a:schemeClr val="bg1"/>
                </a:solidFill>
              </a:rPr>
              <a:t>We built a solid basis, But We could DO even more</a:t>
            </a:r>
          </a:p>
        </p:txBody>
      </p:sp>
      <p:sp>
        <p:nvSpPr>
          <p:cNvPr id="6" name="Titel 28">
            <a:extLst>
              <a:ext uri="{FF2B5EF4-FFF2-40B4-BE49-F238E27FC236}">
                <a16:creationId xmlns:a16="http://schemas.microsoft.com/office/drawing/2014/main" id="{819FE54A-6553-E212-7956-8E1824AC5CD0}"/>
              </a:ext>
            </a:extLst>
          </p:cNvPr>
          <p:cNvSpPr txBox="1">
            <a:spLocks/>
          </p:cNvSpPr>
          <p:nvPr/>
        </p:nvSpPr>
        <p:spPr>
          <a:xfrm>
            <a:off x="794508" y="519712"/>
            <a:ext cx="3106932" cy="36576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 u="none" strike="noStrike" cap="all" spc="400" normalizeH="0" baseline="0">
                <a:ln w="19050">
                  <a:solidFill>
                    <a:schemeClr val="accent5"/>
                  </a:solidFill>
                </a:ln>
                <a:noFill/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sz="2000">
                <a:ln w="19050">
                  <a:solidFill>
                    <a:schemeClr val="accent5">
                      <a:alpha val="70000"/>
                    </a:schemeClr>
                  </a:solidFill>
                </a:ln>
              </a:rPr>
              <a:t>Next </a:t>
            </a:r>
            <a:r>
              <a:rPr lang="de-DE" sz="2000" err="1">
                <a:ln w="19050">
                  <a:solidFill>
                    <a:schemeClr val="accent5">
                      <a:alpha val="70000"/>
                    </a:schemeClr>
                  </a:solidFill>
                </a:ln>
              </a:rPr>
              <a:t>steps</a:t>
            </a:r>
            <a:endParaRPr lang="de-DE" sz="2000">
              <a:ln w="19050">
                <a:solidFill>
                  <a:schemeClr val="accent5">
                    <a:alpha val="70000"/>
                  </a:schemeClr>
                </a:solidFill>
              </a:ln>
            </a:endParaRPr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457CB4A5-565E-E3E7-08AC-662DC2CE68A9}"/>
              </a:ext>
            </a:extLst>
          </p:cNvPr>
          <p:cNvGrpSpPr/>
          <p:nvPr/>
        </p:nvGrpSpPr>
        <p:grpSpPr>
          <a:xfrm>
            <a:off x="873405" y="2115701"/>
            <a:ext cx="10444706" cy="3751699"/>
            <a:chOff x="873405" y="2115701"/>
            <a:chExt cx="10444706" cy="3751699"/>
          </a:xfrm>
        </p:grpSpPr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40186471-6B80-AD0C-A177-A1E5563EE563}"/>
                </a:ext>
              </a:extLst>
            </p:cNvPr>
            <p:cNvCxnSpPr>
              <a:cxnSpLocks/>
            </p:cNvCxnSpPr>
            <p:nvPr/>
          </p:nvCxnSpPr>
          <p:spPr>
            <a:xfrm>
              <a:off x="6190648" y="4140588"/>
              <a:ext cx="4839904" cy="1"/>
            </a:xfrm>
            <a:prstGeom prst="line">
              <a:avLst/>
            </a:prstGeom>
            <a:ln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02961A02-1B28-B6D7-1B2C-7044D21B5ADD}"/>
                </a:ext>
              </a:extLst>
            </p:cNvPr>
            <p:cNvCxnSpPr>
              <a:cxnSpLocks/>
              <a:endCxn id="10" idx="1"/>
            </p:cNvCxnSpPr>
            <p:nvPr/>
          </p:nvCxnSpPr>
          <p:spPr>
            <a:xfrm>
              <a:off x="1064871" y="4140588"/>
              <a:ext cx="4839904" cy="1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844F2E14-BFA0-E248-ED2D-DB9836901FD6}"/>
                </a:ext>
              </a:extLst>
            </p:cNvPr>
            <p:cNvSpPr/>
            <p:nvPr/>
          </p:nvSpPr>
          <p:spPr>
            <a:xfrm>
              <a:off x="873405" y="3949606"/>
              <a:ext cx="381965" cy="381965"/>
            </a:xfrm>
            <a:prstGeom prst="rect">
              <a:avLst/>
            </a:prstGeom>
            <a:gradFill flip="none" rotWithShape="1">
              <a:gsLst>
                <a:gs pos="17000">
                  <a:schemeClr val="accent1"/>
                </a:gs>
                <a:gs pos="100000">
                  <a:schemeClr val="accent5"/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gradFill>
                <a:gsLst>
                  <a:gs pos="0">
                    <a:schemeClr val="accent1">
                      <a:lumMod val="20000"/>
                      <a:lumOff val="80000"/>
                    </a:schemeClr>
                  </a:gs>
                  <a:gs pos="100000">
                    <a:schemeClr val="accent5"/>
                  </a:gs>
                </a:gsLst>
                <a:lin ang="5400000" scaled="1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lang="en-US" sz="2000" b="1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FBEEF7C9-F471-2609-7437-B3DB478F5227}"/>
                </a:ext>
              </a:extLst>
            </p:cNvPr>
            <p:cNvSpPr/>
            <p:nvPr/>
          </p:nvSpPr>
          <p:spPr>
            <a:xfrm>
              <a:off x="3389090" y="3949606"/>
              <a:ext cx="381965" cy="381965"/>
            </a:xfrm>
            <a:prstGeom prst="rect">
              <a:avLst/>
            </a:prstGeom>
            <a:gradFill flip="none" rotWithShape="1">
              <a:gsLst>
                <a:gs pos="17000">
                  <a:schemeClr val="accent1"/>
                </a:gs>
                <a:gs pos="100000">
                  <a:schemeClr val="accent5"/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gradFill>
                <a:gsLst>
                  <a:gs pos="0">
                    <a:schemeClr val="accent1">
                      <a:lumMod val="20000"/>
                      <a:lumOff val="80000"/>
                    </a:schemeClr>
                  </a:gs>
                  <a:gs pos="100000">
                    <a:schemeClr val="accent5"/>
                  </a:gs>
                </a:gsLst>
                <a:lin ang="5400000" scaled="1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lang="en-US" sz="2000" b="1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94FEBF3D-0885-6391-36DE-5DCDE1899CE2}"/>
                </a:ext>
              </a:extLst>
            </p:cNvPr>
            <p:cNvSpPr/>
            <p:nvPr/>
          </p:nvSpPr>
          <p:spPr>
            <a:xfrm>
              <a:off x="8420460" y="3949606"/>
              <a:ext cx="381965" cy="381965"/>
            </a:xfrm>
            <a:prstGeom prst="rect">
              <a:avLst/>
            </a:prstGeom>
            <a:gradFill flip="none" rotWithShape="1">
              <a:gsLst>
                <a:gs pos="17000">
                  <a:schemeClr val="tx2">
                    <a:lumMod val="20000"/>
                    <a:lumOff val="80000"/>
                  </a:schemeClr>
                </a:gs>
                <a:gs pos="100000">
                  <a:schemeClr val="tx2"/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gradFill>
                <a:gsLst>
                  <a:gs pos="0">
                    <a:schemeClr val="accent1">
                      <a:lumMod val="20000"/>
                      <a:lumOff val="80000"/>
                    </a:schemeClr>
                  </a:gs>
                  <a:gs pos="100000">
                    <a:schemeClr val="accent5"/>
                  </a:gs>
                </a:gsLst>
                <a:lin ang="5400000" scaled="1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lang="en-US" sz="2000" b="1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CCF8B0DC-89AB-0022-CDA1-7387990851A5}"/>
                </a:ext>
              </a:extLst>
            </p:cNvPr>
            <p:cNvSpPr/>
            <p:nvPr/>
          </p:nvSpPr>
          <p:spPr>
            <a:xfrm>
              <a:off x="5904775" y="3949606"/>
              <a:ext cx="381965" cy="381965"/>
            </a:xfrm>
            <a:prstGeom prst="rect">
              <a:avLst/>
            </a:prstGeom>
            <a:gradFill flip="none" rotWithShape="1">
              <a:gsLst>
                <a:gs pos="17000">
                  <a:schemeClr val="accent1"/>
                </a:gs>
                <a:gs pos="100000">
                  <a:schemeClr val="accent5"/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gradFill>
                <a:gsLst>
                  <a:gs pos="0">
                    <a:schemeClr val="accent1">
                      <a:lumMod val="20000"/>
                      <a:lumOff val="80000"/>
                    </a:schemeClr>
                  </a:gs>
                  <a:gs pos="100000">
                    <a:schemeClr val="accent5"/>
                  </a:gs>
                </a:gsLst>
                <a:lin ang="5400000" scaled="1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lang="en-US" sz="2000" b="1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28BCBC50-D438-32D1-D904-F82DA4B9EFD4}"/>
                </a:ext>
              </a:extLst>
            </p:cNvPr>
            <p:cNvSpPr/>
            <p:nvPr/>
          </p:nvSpPr>
          <p:spPr>
            <a:xfrm>
              <a:off x="10936146" y="3949606"/>
              <a:ext cx="381965" cy="381965"/>
            </a:xfrm>
            <a:prstGeom prst="rect">
              <a:avLst/>
            </a:prstGeom>
            <a:gradFill flip="none" rotWithShape="1">
              <a:gsLst>
                <a:gs pos="17000">
                  <a:schemeClr val="tx2">
                    <a:lumMod val="20000"/>
                    <a:lumOff val="80000"/>
                  </a:schemeClr>
                </a:gs>
                <a:gs pos="100000">
                  <a:schemeClr val="tx2"/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gradFill>
                <a:gsLst>
                  <a:gs pos="0">
                    <a:schemeClr val="accent1">
                      <a:lumMod val="20000"/>
                      <a:lumOff val="80000"/>
                    </a:schemeClr>
                  </a:gs>
                  <a:gs pos="100000">
                    <a:schemeClr val="accent5"/>
                  </a:gs>
                </a:gsLst>
                <a:lin ang="5400000" scaled="1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lang="en-US" sz="2000" b="1"/>
            </a:p>
          </p:txBody>
        </p: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35F0EC03-45C7-715C-A046-459082245C20}"/>
                </a:ext>
              </a:extLst>
            </p:cNvPr>
            <p:cNvCxnSpPr>
              <a:cxnSpLocks/>
            </p:cNvCxnSpPr>
            <p:nvPr/>
          </p:nvCxnSpPr>
          <p:spPr>
            <a:xfrm>
              <a:off x="1064388" y="2115701"/>
              <a:ext cx="483" cy="1833412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F8DCCEEF-FC1F-0189-886B-04590F68DC55}"/>
                </a:ext>
              </a:extLst>
            </p:cNvPr>
            <p:cNvCxnSpPr/>
            <p:nvPr/>
          </p:nvCxnSpPr>
          <p:spPr>
            <a:xfrm>
              <a:off x="3591647" y="4331571"/>
              <a:ext cx="483" cy="151200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CC087D60-7D72-FE01-D937-EF8E1732C588}"/>
                </a:ext>
              </a:extLst>
            </p:cNvPr>
            <p:cNvCxnSpPr>
              <a:cxnSpLocks/>
            </p:cNvCxnSpPr>
            <p:nvPr/>
          </p:nvCxnSpPr>
          <p:spPr>
            <a:xfrm>
              <a:off x="4967510" y="2115701"/>
              <a:ext cx="0" cy="1519039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F26F3293-035C-E5D7-ED8E-2F763A6E909D}"/>
                </a:ext>
              </a:extLst>
            </p:cNvPr>
            <p:cNvCxnSpPr/>
            <p:nvPr/>
          </p:nvCxnSpPr>
          <p:spPr>
            <a:xfrm>
              <a:off x="11126645" y="2115701"/>
              <a:ext cx="483" cy="1833412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F0973573-7C84-0344-6B0C-DA1520793B8A}"/>
                </a:ext>
              </a:extLst>
            </p:cNvPr>
            <p:cNvCxnSpPr/>
            <p:nvPr/>
          </p:nvCxnSpPr>
          <p:spPr>
            <a:xfrm>
              <a:off x="8611443" y="4331571"/>
              <a:ext cx="483" cy="151200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BD7FC31C-4020-280C-6E97-2C7C0DA2D9BC}"/>
                </a:ext>
              </a:extLst>
            </p:cNvPr>
            <p:cNvSpPr txBox="1"/>
            <p:nvPr/>
          </p:nvSpPr>
          <p:spPr>
            <a:xfrm>
              <a:off x="1255370" y="2225128"/>
              <a:ext cx="1634807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en-US" b="1">
                  <a:solidFill>
                    <a:schemeClr val="bg1"/>
                  </a:solidFill>
                </a:rPr>
                <a:t>Data Extraction</a:t>
              </a: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35EE3D69-2357-D13E-DA9F-1FD491029106}"/>
                </a:ext>
              </a:extLst>
            </p:cNvPr>
            <p:cNvSpPr txBox="1"/>
            <p:nvPr/>
          </p:nvSpPr>
          <p:spPr>
            <a:xfrm>
              <a:off x="1255370" y="2611480"/>
              <a:ext cx="1499000" cy="98488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285750" indent="-285750" algn="l">
                <a:buFont typeface="Wingdings" panose="05000000000000000000" pitchFamily="2" charset="2"/>
                <a:buChar char="ü"/>
              </a:pPr>
              <a:r>
                <a:rPr lang="en-US" sz="1600">
                  <a:solidFill>
                    <a:schemeClr val="bg1"/>
                  </a:solidFill>
                </a:rPr>
                <a:t>Pitch Deck</a:t>
              </a:r>
            </a:p>
            <a:p>
              <a:pPr marL="285750" indent="-285750" algn="l">
                <a:buFont typeface="Wingdings" panose="05000000000000000000" pitchFamily="2" charset="2"/>
                <a:buChar char="ü"/>
              </a:pPr>
              <a:r>
                <a:rPr lang="en-US" sz="1600">
                  <a:solidFill>
                    <a:schemeClr val="bg1"/>
                  </a:solidFill>
                </a:rPr>
                <a:t>News Search </a:t>
              </a:r>
            </a:p>
            <a:p>
              <a:pPr marL="285750" indent="-285750" algn="l">
                <a:buFont typeface="Wingdings" panose="05000000000000000000" pitchFamily="2" charset="2"/>
                <a:buChar char="ü"/>
              </a:pPr>
              <a:r>
                <a:rPr lang="en-US" sz="1600">
                  <a:solidFill>
                    <a:schemeClr val="bg1"/>
                  </a:solidFill>
                </a:rPr>
                <a:t>Web Search</a:t>
              </a:r>
            </a:p>
            <a:p>
              <a:pPr marL="285750" indent="-285750" algn="l">
                <a:buFont typeface="Wingdings" panose="05000000000000000000" pitchFamily="2" charset="2"/>
                <a:buChar char="ü"/>
              </a:pPr>
              <a:r>
                <a:rPr lang="en-US" sz="1600">
                  <a:solidFill>
                    <a:schemeClr val="bg1"/>
                  </a:solidFill>
                </a:rPr>
                <a:t>LinkedIn 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F3286461-4116-38DA-D21F-CA2A4B9638F9}"/>
                </a:ext>
              </a:extLst>
            </p:cNvPr>
            <p:cNvSpPr txBox="1"/>
            <p:nvPr/>
          </p:nvSpPr>
          <p:spPr>
            <a:xfrm>
              <a:off x="5219420" y="2225128"/>
              <a:ext cx="1754070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en-US" b="1">
                  <a:solidFill>
                    <a:schemeClr val="bg1"/>
                  </a:solidFill>
                </a:rPr>
                <a:t>Basic Evaluation</a:t>
              </a: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D1C2D2BE-5D36-B8A1-BEB1-C08FDF67FA16}"/>
                </a:ext>
              </a:extLst>
            </p:cNvPr>
            <p:cNvSpPr txBox="1"/>
            <p:nvPr/>
          </p:nvSpPr>
          <p:spPr>
            <a:xfrm>
              <a:off x="5219420" y="2611480"/>
              <a:ext cx="2219647" cy="738664"/>
            </a:xfrm>
            <a:prstGeom prst="rect">
              <a:avLst/>
            </a:prstGeom>
            <a:noFill/>
          </p:spPr>
          <p:txBody>
            <a:bodyPr wrap="none" lIns="0" tIns="0" rIns="0" bIns="0" rtlCol="0" anchor="t">
              <a:spAutoFit/>
            </a:bodyPr>
            <a:lstStyle/>
            <a:p>
              <a:pPr marL="285750" indent="-285750" algn="l">
                <a:buFont typeface="Wingdings"/>
                <a:buChar char="ü"/>
              </a:pPr>
              <a:r>
                <a:rPr lang="en-US" sz="1600">
                  <a:solidFill>
                    <a:schemeClr val="bg1"/>
                  </a:solidFill>
                </a:rPr>
                <a:t>Evaluation Algorithm </a:t>
              </a:r>
              <a:endParaRPr lang="en-US">
                <a:solidFill>
                  <a:schemeClr val="bg1"/>
                </a:solidFill>
              </a:endParaRPr>
            </a:p>
            <a:p>
              <a:pPr marL="285750" indent="-285750" algn="l">
                <a:buFont typeface="Wingdings" panose="05000000000000000000" pitchFamily="2" charset="2"/>
                <a:buChar char="ü"/>
              </a:pPr>
              <a:r>
                <a:rPr lang="en-US" sz="1600">
                  <a:solidFill>
                    <a:schemeClr val="bg1"/>
                  </a:solidFill>
                </a:rPr>
                <a:t>Industry Benchmarks </a:t>
              </a:r>
            </a:p>
            <a:p>
              <a:pPr marL="285750" indent="-285750" algn="l">
                <a:buFont typeface="Wingdings" panose="05000000000000000000" pitchFamily="2" charset="2"/>
                <a:buChar char="ü"/>
              </a:pPr>
              <a:r>
                <a:rPr lang="en-US" sz="1600">
                  <a:solidFill>
                    <a:schemeClr val="bg1"/>
                  </a:solidFill>
                </a:rPr>
                <a:t>Dashboard Overview</a:t>
              </a: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458D0706-E23E-4E7B-8E90-F4C08AEC7CC4}"/>
                </a:ext>
              </a:extLst>
            </p:cNvPr>
            <p:cNvSpPr txBox="1"/>
            <p:nvPr/>
          </p:nvSpPr>
          <p:spPr>
            <a:xfrm>
              <a:off x="3782629" y="4742384"/>
              <a:ext cx="1686167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en-US" b="1">
                  <a:solidFill>
                    <a:schemeClr val="bg1"/>
                  </a:solidFill>
                </a:rPr>
                <a:t>Market Analysis</a:t>
              </a: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44C82DAB-9EE8-9A1A-B211-505EB8A57233}"/>
                </a:ext>
              </a:extLst>
            </p:cNvPr>
            <p:cNvSpPr txBox="1"/>
            <p:nvPr/>
          </p:nvSpPr>
          <p:spPr>
            <a:xfrm>
              <a:off x="3782629" y="5128736"/>
              <a:ext cx="3441327" cy="73866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285750" indent="-285750" algn="l">
                <a:buFont typeface="Wingdings" panose="05000000000000000000" pitchFamily="2" charset="2"/>
                <a:buChar char="ü"/>
              </a:pPr>
              <a:r>
                <a:rPr lang="en-US" sz="1600">
                  <a:solidFill>
                    <a:schemeClr val="bg1"/>
                  </a:solidFill>
                </a:rPr>
                <a:t>Competitor Analysis </a:t>
              </a:r>
            </a:p>
            <a:p>
              <a:pPr marL="285750" indent="-285750" algn="l">
                <a:buFont typeface="Wingdings" panose="05000000000000000000" pitchFamily="2" charset="2"/>
                <a:buChar char="ü"/>
              </a:pPr>
              <a:r>
                <a:rPr lang="en-US" sz="1600">
                  <a:solidFill>
                    <a:schemeClr val="bg1"/>
                  </a:solidFill>
                </a:rPr>
                <a:t>First UX Check with former investor </a:t>
              </a:r>
            </a:p>
            <a:p>
              <a:pPr marL="285750" indent="-285750">
                <a:buFont typeface="Wingdings" panose="05000000000000000000" pitchFamily="2" charset="2"/>
                <a:buChar char="ü"/>
              </a:pPr>
              <a:r>
                <a:rPr lang="en-US" sz="1600">
                  <a:solidFill>
                    <a:schemeClr val="bg1"/>
                  </a:solidFill>
                </a:rPr>
                <a:t>Modelling of Pricing and Financials</a:t>
              </a: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BDD9E59C-833D-C8BC-5645-DCE2BDB09FE8}"/>
                </a:ext>
              </a:extLst>
            </p:cNvPr>
            <p:cNvSpPr txBox="1"/>
            <p:nvPr/>
          </p:nvSpPr>
          <p:spPr>
            <a:xfrm>
              <a:off x="9139216" y="2225128"/>
              <a:ext cx="1585947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b="1">
                  <a:solidFill>
                    <a:schemeClr val="bg1"/>
                  </a:solidFill>
                </a:rPr>
                <a:t>Pro Evaluation</a:t>
              </a: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6B753F03-DED0-979F-1A13-017E37129A13}"/>
                </a:ext>
              </a:extLst>
            </p:cNvPr>
            <p:cNvSpPr txBox="1"/>
            <p:nvPr/>
          </p:nvSpPr>
          <p:spPr>
            <a:xfrm>
              <a:off x="9245423" y="2611480"/>
              <a:ext cx="1585947" cy="98488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285750" indent="-285750">
                <a:buFont typeface="Wingdings" panose="05000000000000000000" pitchFamily="2" charset="2"/>
                <a:buChar char="q"/>
              </a:pPr>
              <a:r>
                <a:rPr lang="en-US" sz="1600">
                  <a:solidFill>
                    <a:schemeClr val="bg1"/>
                  </a:solidFill>
                </a:rPr>
                <a:t>Neural Network</a:t>
              </a:r>
            </a:p>
            <a:p>
              <a:pPr marL="285750" indent="-285750">
                <a:buFont typeface="Wingdings" panose="05000000000000000000" pitchFamily="2" charset="2"/>
                <a:buChar char="q"/>
              </a:pPr>
              <a:r>
                <a:rPr lang="en-US" sz="1600">
                  <a:solidFill>
                    <a:schemeClr val="bg1"/>
                  </a:solidFill>
                </a:rPr>
                <a:t>Paid Database APIs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BD89DAAA-2033-9536-DD78-FD8EE598CF2F}"/>
                </a:ext>
              </a:extLst>
            </p:cNvPr>
            <p:cNvSpPr txBox="1"/>
            <p:nvPr/>
          </p:nvSpPr>
          <p:spPr>
            <a:xfrm>
              <a:off x="8802425" y="4736788"/>
              <a:ext cx="2186432" cy="276999"/>
            </a:xfrm>
            <a:prstGeom prst="rect">
              <a:avLst/>
            </a:prstGeom>
            <a:noFill/>
          </p:spPr>
          <p:txBody>
            <a:bodyPr wrap="none" lIns="0" tIns="0" rIns="0" bIns="0" rtlCol="0" anchor="t">
              <a:spAutoFit/>
            </a:bodyPr>
            <a:lstStyle/>
            <a:p>
              <a:r>
                <a:rPr lang="en-US" b="1">
                  <a:solidFill>
                    <a:schemeClr val="bg1"/>
                  </a:solidFill>
                </a:rPr>
                <a:t>Advanced Extraction</a:t>
              </a: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366A0BE3-083E-77C4-D237-CED4C1D061BE}"/>
                </a:ext>
              </a:extLst>
            </p:cNvPr>
            <p:cNvSpPr txBox="1"/>
            <p:nvPr/>
          </p:nvSpPr>
          <p:spPr>
            <a:xfrm>
              <a:off x="8802425" y="5123140"/>
              <a:ext cx="2469843" cy="738664"/>
            </a:xfrm>
            <a:prstGeom prst="rect">
              <a:avLst/>
            </a:prstGeom>
            <a:noFill/>
          </p:spPr>
          <p:txBody>
            <a:bodyPr wrap="none" lIns="0" tIns="0" rIns="0" bIns="0" rtlCol="0" anchor="t">
              <a:spAutoFit/>
            </a:bodyPr>
            <a:lstStyle/>
            <a:p>
              <a:pPr marL="285750" indent="-285750">
                <a:buFont typeface="Wingdings" panose="05000000000000000000" pitchFamily="2" charset="2"/>
                <a:buChar char="q"/>
              </a:pPr>
              <a:r>
                <a:rPr lang="en-US" sz="1600">
                  <a:solidFill>
                    <a:schemeClr val="bg1"/>
                  </a:solidFill>
                </a:rPr>
                <a:t>Extending the agent pool</a:t>
              </a:r>
            </a:p>
            <a:p>
              <a:pPr marL="285750" indent="-285750">
                <a:buFont typeface="Wingdings" panose="05000000000000000000" pitchFamily="2" charset="2"/>
                <a:buChar char="q"/>
              </a:pPr>
              <a:r>
                <a:rPr lang="en-US" sz="1600">
                  <a:solidFill>
                    <a:schemeClr val="bg1"/>
                  </a:solidFill>
                </a:rPr>
                <a:t>Adding new info sources</a:t>
              </a:r>
            </a:p>
            <a:p>
              <a:pPr marL="285750" indent="-285750">
                <a:buFont typeface="Wingdings" panose="05000000000000000000" pitchFamily="2" charset="2"/>
                <a:buChar char="q"/>
              </a:pPr>
              <a:r>
                <a:rPr lang="en-US" sz="1600">
                  <a:solidFill>
                    <a:schemeClr val="bg1"/>
                  </a:solidFill>
                </a:rPr>
                <a:t>VC portfolio analyzer</a:t>
              </a:r>
            </a:p>
          </p:txBody>
        </p: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5DD12F9F-AC24-15F5-EDFD-96AB139FE759}"/>
                </a:ext>
              </a:extLst>
            </p:cNvPr>
            <p:cNvCxnSpPr>
              <a:cxnSpLocks/>
            </p:cNvCxnSpPr>
            <p:nvPr/>
          </p:nvCxnSpPr>
          <p:spPr>
            <a:xfrm>
              <a:off x="6095275" y="3634740"/>
              <a:ext cx="0" cy="314373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1E393274-8F6C-AFE5-30EB-BD9179722447}"/>
                </a:ext>
              </a:extLst>
            </p:cNvPr>
            <p:cNvCxnSpPr>
              <a:cxnSpLocks/>
            </p:cNvCxnSpPr>
            <p:nvPr/>
          </p:nvCxnSpPr>
          <p:spPr>
            <a:xfrm>
              <a:off x="4967510" y="3634740"/>
              <a:ext cx="1126799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6133578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C5A8C60-D476-A754-FA8E-7015BBBC34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0C4EC03-5DDD-5733-0E40-8C31390E6F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rtl="0"/>
            <a:r>
              <a:rPr lang="en-US" noProof="0"/>
              <a:t>Q-Hack 25</a:t>
            </a:r>
            <a:endParaRPr lang="de-DE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FDEAD6C-D80F-FAB9-5465-87DDF573A7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rtl="0"/>
            <a:r>
              <a:rPr lang="de-DE" noProof="0"/>
              <a:t>disQover Pitch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AD23F49-1120-3521-9B30-086A43608B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rtl="0"/>
            <a:fld id="{A402E4C0-AD5E-4E8C-9F21-7CCE474BDCEB}" type="slidenum">
              <a:rPr lang="de-DE" noProof="0" smtClean="0"/>
              <a:pPr rtl="0"/>
              <a:t>13</a:t>
            </a:fld>
            <a:endParaRPr lang="de-DE" noProof="0"/>
          </a:p>
        </p:txBody>
      </p: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613A7AB9-4879-77B8-5962-F5593AF60BA0}"/>
              </a:ext>
            </a:extLst>
          </p:cNvPr>
          <p:cNvCxnSpPr/>
          <p:nvPr/>
        </p:nvCxnSpPr>
        <p:spPr>
          <a:xfrm>
            <a:off x="838200" y="1005840"/>
            <a:ext cx="105156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r Verbinder 40">
            <a:extLst>
              <a:ext uri="{FF2B5EF4-FFF2-40B4-BE49-F238E27FC236}">
                <a16:creationId xmlns:a16="http://schemas.microsoft.com/office/drawing/2014/main" id="{6E96D708-4D67-2E72-31BC-E3324011EB1D}"/>
              </a:ext>
            </a:extLst>
          </p:cNvPr>
          <p:cNvCxnSpPr/>
          <p:nvPr/>
        </p:nvCxnSpPr>
        <p:spPr>
          <a:xfrm>
            <a:off x="838200" y="5933440"/>
            <a:ext cx="105156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el 28">
            <a:extLst>
              <a:ext uri="{FF2B5EF4-FFF2-40B4-BE49-F238E27FC236}">
                <a16:creationId xmlns:a16="http://schemas.microsoft.com/office/drawing/2014/main" id="{0A273DC0-993A-5E6E-DF4C-1104DA695F9B}"/>
              </a:ext>
            </a:extLst>
          </p:cNvPr>
          <p:cNvSpPr txBox="1">
            <a:spLocks/>
          </p:cNvSpPr>
          <p:nvPr/>
        </p:nvSpPr>
        <p:spPr>
          <a:xfrm>
            <a:off x="794508" y="519712"/>
            <a:ext cx="3106932" cy="36576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 u="none" strike="noStrike" cap="all" spc="400" normalizeH="0" baseline="0">
                <a:ln w="19050">
                  <a:solidFill>
                    <a:schemeClr val="accent5"/>
                  </a:solidFill>
                </a:ln>
                <a:noFill/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sz="2000">
                <a:ln w="19050">
                  <a:solidFill>
                    <a:schemeClr val="accent5">
                      <a:alpha val="70000"/>
                    </a:schemeClr>
                  </a:solidFill>
                </a:ln>
              </a:rPr>
              <a:t>TEAM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669783A4-145F-C5D9-7C16-C4AA3D00BC17}"/>
              </a:ext>
            </a:extLst>
          </p:cNvPr>
          <p:cNvGrpSpPr/>
          <p:nvPr/>
        </p:nvGrpSpPr>
        <p:grpSpPr>
          <a:xfrm>
            <a:off x="811926" y="1198629"/>
            <a:ext cx="10982253" cy="4488867"/>
            <a:chOff x="811926" y="1198629"/>
            <a:chExt cx="10982253" cy="4488867"/>
          </a:xfrm>
        </p:grpSpPr>
        <p:sp>
          <p:nvSpPr>
            <p:cNvPr id="24" name="Textfeld 23">
              <a:extLst>
                <a:ext uri="{FF2B5EF4-FFF2-40B4-BE49-F238E27FC236}">
                  <a16:creationId xmlns:a16="http://schemas.microsoft.com/office/drawing/2014/main" id="{2E13839D-9C98-C7D6-D9D4-6DA6A1ECE32F}"/>
                </a:ext>
              </a:extLst>
            </p:cNvPr>
            <p:cNvSpPr txBox="1"/>
            <p:nvPr/>
          </p:nvSpPr>
          <p:spPr>
            <a:xfrm>
              <a:off x="6737965" y="3402767"/>
              <a:ext cx="932563" cy="5539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de-DE" b="1">
                  <a:solidFill>
                    <a:schemeClr val="bg1"/>
                  </a:solidFill>
                </a:rPr>
                <a:t>FLORIAN</a:t>
              </a:r>
            </a:p>
            <a:p>
              <a:r>
                <a:rPr lang="de-DE" b="1">
                  <a:ln>
                    <a:solidFill>
                      <a:schemeClr val="bg1"/>
                    </a:solidFill>
                  </a:ln>
                  <a:noFill/>
                </a:rPr>
                <a:t>FALLER</a:t>
              </a:r>
            </a:p>
          </p:txBody>
        </p:sp>
        <p:sp>
          <p:nvSpPr>
            <p:cNvPr id="25" name="Textfeld 24">
              <a:extLst>
                <a:ext uri="{FF2B5EF4-FFF2-40B4-BE49-F238E27FC236}">
                  <a16:creationId xmlns:a16="http://schemas.microsoft.com/office/drawing/2014/main" id="{BD554944-0102-C9A1-7190-B56690582AC7}"/>
                </a:ext>
              </a:extLst>
            </p:cNvPr>
            <p:cNvSpPr txBox="1"/>
            <p:nvPr/>
          </p:nvSpPr>
          <p:spPr>
            <a:xfrm>
              <a:off x="6737965" y="4083296"/>
              <a:ext cx="2035555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e-DE" sz="1600">
                  <a:solidFill>
                    <a:schemeClr val="bg1"/>
                  </a:solidFill>
                </a:rPr>
                <a:t>Management</a:t>
              </a:r>
            </a:p>
          </p:txBody>
        </p:sp>
        <p:sp>
          <p:nvSpPr>
            <p:cNvPr id="30" name="Textfeld 29">
              <a:extLst>
                <a:ext uri="{FF2B5EF4-FFF2-40B4-BE49-F238E27FC236}">
                  <a16:creationId xmlns:a16="http://schemas.microsoft.com/office/drawing/2014/main" id="{FC3CBA84-0758-E69D-6BFA-BE6352CAD827}"/>
                </a:ext>
              </a:extLst>
            </p:cNvPr>
            <p:cNvSpPr txBox="1"/>
            <p:nvPr/>
          </p:nvSpPr>
          <p:spPr>
            <a:xfrm>
              <a:off x="9896290" y="2065339"/>
              <a:ext cx="930191" cy="5539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de-DE" b="1">
                  <a:solidFill>
                    <a:schemeClr val="bg1"/>
                  </a:solidFill>
                </a:rPr>
                <a:t>COSIMA </a:t>
              </a:r>
              <a:br>
                <a:rPr lang="de-DE" b="1">
                  <a:solidFill>
                    <a:schemeClr val="bg1"/>
                  </a:solidFill>
                </a:rPr>
              </a:br>
              <a:r>
                <a:rPr lang="de-DE" b="1">
                  <a:ln>
                    <a:solidFill>
                      <a:schemeClr val="bg1"/>
                    </a:solidFill>
                  </a:ln>
                  <a:noFill/>
                </a:rPr>
                <a:t>FALLER</a:t>
              </a:r>
            </a:p>
          </p:txBody>
        </p:sp>
        <p:sp>
          <p:nvSpPr>
            <p:cNvPr id="31" name="Textfeld 30">
              <a:extLst>
                <a:ext uri="{FF2B5EF4-FFF2-40B4-BE49-F238E27FC236}">
                  <a16:creationId xmlns:a16="http://schemas.microsoft.com/office/drawing/2014/main" id="{375A8402-F58D-D07E-97AE-9D9B111A902E}"/>
                </a:ext>
              </a:extLst>
            </p:cNvPr>
            <p:cNvSpPr txBox="1"/>
            <p:nvPr/>
          </p:nvSpPr>
          <p:spPr>
            <a:xfrm>
              <a:off x="9896290" y="2745868"/>
              <a:ext cx="1897889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r>
                <a:rPr lang="de-DE" sz="1600">
                  <a:solidFill>
                    <a:schemeClr val="bg1"/>
                  </a:solidFill>
                </a:rPr>
                <a:t>Design &amp; med. Doc.</a:t>
              </a:r>
            </a:p>
          </p:txBody>
        </p:sp>
        <p:sp>
          <p:nvSpPr>
            <p:cNvPr id="33" name="Textfeld 32">
              <a:extLst>
                <a:ext uri="{FF2B5EF4-FFF2-40B4-BE49-F238E27FC236}">
                  <a16:creationId xmlns:a16="http://schemas.microsoft.com/office/drawing/2014/main" id="{CD641F5F-B58D-4D4B-1C06-99FBDAC15DCB}"/>
                </a:ext>
              </a:extLst>
            </p:cNvPr>
            <p:cNvSpPr txBox="1"/>
            <p:nvPr/>
          </p:nvSpPr>
          <p:spPr>
            <a:xfrm>
              <a:off x="9896290" y="3387495"/>
              <a:ext cx="1289264" cy="5539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de-DE" b="1">
                  <a:solidFill>
                    <a:schemeClr val="bg1"/>
                  </a:solidFill>
                </a:rPr>
                <a:t>ALEXANDER</a:t>
              </a:r>
            </a:p>
            <a:p>
              <a:r>
                <a:rPr lang="de-DE" b="1">
                  <a:ln>
                    <a:solidFill>
                      <a:schemeClr val="bg1"/>
                    </a:solidFill>
                  </a:ln>
                  <a:noFill/>
                </a:rPr>
                <a:t>HALLER</a:t>
              </a:r>
            </a:p>
          </p:txBody>
        </p:sp>
        <p:sp>
          <p:nvSpPr>
            <p:cNvPr id="34" name="Textfeld 33">
              <a:extLst>
                <a:ext uri="{FF2B5EF4-FFF2-40B4-BE49-F238E27FC236}">
                  <a16:creationId xmlns:a16="http://schemas.microsoft.com/office/drawing/2014/main" id="{618D563B-1261-2B5F-4A57-BE21BBC8B363}"/>
                </a:ext>
              </a:extLst>
            </p:cNvPr>
            <p:cNvSpPr txBox="1"/>
            <p:nvPr/>
          </p:nvSpPr>
          <p:spPr>
            <a:xfrm>
              <a:off x="9896290" y="4068024"/>
              <a:ext cx="1897889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e-DE" sz="1600">
                  <a:solidFill>
                    <a:schemeClr val="bg1"/>
                  </a:solidFill>
                </a:rPr>
                <a:t>Development</a:t>
              </a:r>
            </a:p>
          </p:txBody>
        </p:sp>
        <p:sp>
          <p:nvSpPr>
            <p:cNvPr id="35" name="Textfeld 34">
              <a:extLst>
                <a:ext uri="{FF2B5EF4-FFF2-40B4-BE49-F238E27FC236}">
                  <a16:creationId xmlns:a16="http://schemas.microsoft.com/office/drawing/2014/main" id="{E4562A69-B37D-455D-0BC8-86B9CF2F2F33}"/>
                </a:ext>
              </a:extLst>
            </p:cNvPr>
            <p:cNvSpPr txBox="1"/>
            <p:nvPr/>
          </p:nvSpPr>
          <p:spPr>
            <a:xfrm>
              <a:off x="9896290" y="4717269"/>
              <a:ext cx="1136658" cy="5539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de-DE" b="1">
                  <a:solidFill>
                    <a:schemeClr val="bg1"/>
                  </a:solidFill>
                </a:rPr>
                <a:t>DEMYAN </a:t>
              </a:r>
              <a:br>
                <a:rPr lang="de-DE" b="1">
                  <a:solidFill>
                    <a:schemeClr val="bg1"/>
                  </a:solidFill>
                </a:rPr>
              </a:br>
              <a:r>
                <a:rPr lang="de-DE" b="1">
                  <a:ln>
                    <a:solidFill>
                      <a:schemeClr val="bg1"/>
                    </a:solidFill>
                  </a:ln>
                  <a:noFill/>
                </a:rPr>
                <a:t>KURBATOV</a:t>
              </a:r>
            </a:p>
          </p:txBody>
        </p:sp>
        <p:sp>
          <p:nvSpPr>
            <p:cNvPr id="36" name="Textfeld 35">
              <a:extLst>
                <a:ext uri="{FF2B5EF4-FFF2-40B4-BE49-F238E27FC236}">
                  <a16:creationId xmlns:a16="http://schemas.microsoft.com/office/drawing/2014/main" id="{656F9377-7ECA-AC12-9EC7-4345CE17C8A8}"/>
                </a:ext>
              </a:extLst>
            </p:cNvPr>
            <p:cNvSpPr txBox="1"/>
            <p:nvPr/>
          </p:nvSpPr>
          <p:spPr>
            <a:xfrm>
              <a:off x="9896290" y="5397798"/>
              <a:ext cx="1897889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e-DE" sz="1600">
                  <a:solidFill>
                    <a:schemeClr val="bg1"/>
                  </a:solidFill>
                </a:rPr>
                <a:t>Development</a:t>
              </a:r>
            </a:p>
          </p:txBody>
        </p:sp>
        <p:sp>
          <p:nvSpPr>
            <p:cNvPr id="37" name="Textfeld 36">
              <a:extLst>
                <a:ext uri="{FF2B5EF4-FFF2-40B4-BE49-F238E27FC236}">
                  <a16:creationId xmlns:a16="http://schemas.microsoft.com/office/drawing/2014/main" id="{C1A2D7D8-A232-0760-CEC1-4E81CBD2BED6}"/>
                </a:ext>
              </a:extLst>
            </p:cNvPr>
            <p:cNvSpPr txBox="1"/>
            <p:nvPr/>
          </p:nvSpPr>
          <p:spPr>
            <a:xfrm>
              <a:off x="6750238" y="4755047"/>
              <a:ext cx="1897889" cy="5539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e-DE" b="1">
                  <a:solidFill>
                    <a:schemeClr val="bg1"/>
                  </a:solidFill>
                </a:rPr>
                <a:t>JIJO </a:t>
              </a:r>
              <a:br>
                <a:rPr lang="de-DE" b="1">
                  <a:solidFill>
                    <a:schemeClr val="bg1"/>
                  </a:solidFill>
                </a:rPr>
              </a:br>
              <a:r>
                <a:rPr lang="de-DE" b="1">
                  <a:ln>
                    <a:solidFill>
                      <a:schemeClr val="bg1"/>
                    </a:solidFill>
                  </a:ln>
                  <a:noFill/>
                </a:rPr>
                <a:t>VALIYAVEETTIL</a:t>
              </a:r>
            </a:p>
          </p:txBody>
        </p:sp>
        <p:sp>
          <p:nvSpPr>
            <p:cNvPr id="38" name="Textfeld 37">
              <a:extLst>
                <a:ext uri="{FF2B5EF4-FFF2-40B4-BE49-F238E27FC236}">
                  <a16:creationId xmlns:a16="http://schemas.microsoft.com/office/drawing/2014/main" id="{908E1275-6FF3-6541-6306-F81467DD1220}"/>
                </a:ext>
              </a:extLst>
            </p:cNvPr>
            <p:cNvSpPr txBox="1"/>
            <p:nvPr/>
          </p:nvSpPr>
          <p:spPr>
            <a:xfrm>
              <a:off x="6750238" y="5435576"/>
              <a:ext cx="1736339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e-DE" sz="1600">
                  <a:solidFill>
                    <a:schemeClr val="bg1"/>
                  </a:solidFill>
                </a:rPr>
                <a:t>Development</a:t>
              </a:r>
            </a:p>
          </p:txBody>
        </p:sp>
        <p:pic>
          <p:nvPicPr>
            <p:cNvPr id="1028" name="Picture 4" descr="Profile photo of Demyan Kurbatov">
              <a:extLst>
                <a:ext uri="{FF2B5EF4-FFF2-40B4-BE49-F238E27FC236}">
                  <a16:creationId xmlns:a16="http://schemas.microsoft.com/office/drawing/2014/main" id="{B109C2F9-B6D4-A331-4487-2FAA4DD0B38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duotone>
                <a:prstClr val="black"/>
                <a:schemeClr val="accent1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48127" y="4516035"/>
              <a:ext cx="1133683" cy="113368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0" name="Picture 6" descr="Profile photo of Cosima F. Faller">
              <a:extLst>
                <a:ext uri="{FF2B5EF4-FFF2-40B4-BE49-F238E27FC236}">
                  <a16:creationId xmlns:a16="http://schemas.microsoft.com/office/drawing/2014/main" id="{9220EE79-70F5-F110-788B-E7D8D6D882EC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>
              <a:duotone>
                <a:prstClr val="black"/>
                <a:schemeClr val="accent1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1899" t="2119" r="14455" b="24235"/>
            <a:stretch/>
          </p:blipFill>
          <p:spPr bwMode="auto">
            <a:xfrm>
              <a:off x="8648127" y="1864105"/>
              <a:ext cx="1133683" cy="113368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2" name="Picture 8" descr="profile image">
              <a:extLst>
                <a:ext uri="{FF2B5EF4-FFF2-40B4-BE49-F238E27FC236}">
                  <a16:creationId xmlns:a16="http://schemas.microsoft.com/office/drawing/2014/main" id="{3AB1E7A5-2D47-05D9-EB0C-9E5C31A8C7C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duotone>
                <a:prstClr val="black"/>
                <a:schemeClr val="accent1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89802" y="3201533"/>
              <a:ext cx="1133683" cy="113368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EFA42682-D85C-44F1-082E-1E7CDD2EFD0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duotone>
                <a:prstClr val="black"/>
                <a:schemeClr val="accent1">
                  <a:tint val="45000"/>
                  <a:satMod val="400000"/>
                </a:schemeClr>
              </a:duotone>
            </a:blip>
            <a:srcRect t="2217" b="22783"/>
            <a:stretch/>
          </p:blipFill>
          <p:spPr>
            <a:xfrm>
              <a:off x="5489802" y="4553813"/>
              <a:ext cx="1133683" cy="1133683"/>
            </a:xfrm>
            <a:prstGeom prst="rect">
              <a:avLst/>
            </a:prstGeom>
          </p:spPr>
        </p:pic>
        <p:pic>
          <p:nvPicPr>
            <p:cNvPr id="9" name="Picture 8" descr="A person sitting at a table with a cell phone&#10;&#10;AI-generated content may be incorrect.">
              <a:extLst>
                <a:ext uri="{FF2B5EF4-FFF2-40B4-BE49-F238E27FC236}">
                  <a16:creationId xmlns:a16="http://schemas.microsoft.com/office/drawing/2014/main" id="{3C5D8821-6CC6-F2E3-5A9A-C8309D9EDA2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>
              <a:duotone>
                <a:prstClr val="black"/>
                <a:schemeClr val="accent1">
                  <a:tint val="45000"/>
                  <a:satMod val="400000"/>
                </a:schemeClr>
              </a:duotone>
            </a:blip>
            <a:srcRect t="6000" b="18999"/>
            <a:stretch/>
          </p:blipFill>
          <p:spPr>
            <a:xfrm>
              <a:off x="8648127" y="3186261"/>
              <a:ext cx="1133683" cy="1133683"/>
            </a:xfrm>
            <a:prstGeom prst="rect">
              <a:avLst/>
            </a:prstGeom>
          </p:spPr>
        </p:pic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F78966A8-0B5C-7276-25DF-C616EE0B7C1A}"/>
                </a:ext>
              </a:extLst>
            </p:cNvPr>
            <p:cNvSpPr txBox="1"/>
            <p:nvPr/>
          </p:nvSpPr>
          <p:spPr>
            <a:xfrm>
              <a:off x="811926" y="1198629"/>
              <a:ext cx="1982075" cy="178510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US" sz="8000" b="1">
                  <a:solidFill>
                    <a:schemeClr val="bg1"/>
                  </a:solidFill>
                </a:rPr>
                <a:t>&gt;11 </a:t>
              </a:r>
            </a:p>
            <a:p>
              <a:pPr algn="l"/>
              <a:r>
                <a:rPr lang="en-US">
                  <a:solidFill>
                    <a:schemeClr val="bg1"/>
                  </a:solidFill>
                </a:rPr>
                <a:t>years of full-stack coding experience </a:t>
              </a: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F6D05B33-BD0A-7C16-9D4D-4011518E0CB8}"/>
                </a:ext>
              </a:extLst>
            </p:cNvPr>
            <p:cNvSpPr txBox="1"/>
            <p:nvPr/>
          </p:nvSpPr>
          <p:spPr>
            <a:xfrm>
              <a:off x="3411803" y="1198629"/>
              <a:ext cx="1184634" cy="178510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US" sz="8000" b="1">
                  <a:solidFill>
                    <a:schemeClr val="bg1"/>
                  </a:solidFill>
                </a:rPr>
                <a:t>&gt;1 </a:t>
              </a:r>
            </a:p>
            <a:p>
              <a:pPr algn="l"/>
              <a:r>
                <a:rPr lang="en-US">
                  <a:solidFill>
                    <a:schemeClr val="bg1"/>
                  </a:solidFill>
                </a:rPr>
                <a:t>year of VC experience 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34B8C313-B0A9-3FEF-7F13-C07B2B7C1E7E}"/>
                </a:ext>
              </a:extLst>
            </p:cNvPr>
            <p:cNvSpPr txBox="1"/>
            <p:nvPr/>
          </p:nvSpPr>
          <p:spPr>
            <a:xfrm>
              <a:off x="838200" y="5338480"/>
              <a:ext cx="2903487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en-US">
                  <a:solidFill>
                    <a:schemeClr val="bg1"/>
                  </a:solidFill>
                </a:rPr>
                <a:t>are companies we worked at 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26CE3F9D-0C91-D692-5BFC-9E2E4E50A568}"/>
                </a:ext>
              </a:extLst>
            </p:cNvPr>
            <p:cNvSpPr txBox="1"/>
            <p:nvPr/>
          </p:nvSpPr>
          <p:spPr>
            <a:xfrm>
              <a:off x="5399434" y="1198629"/>
              <a:ext cx="1822178" cy="1785104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/>
              <a:r>
                <a:rPr lang="en-US" sz="8000" b="1">
                  <a:solidFill>
                    <a:schemeClr val="bg1"/>
                  </a:solidFill>
                </a:rPr>
                <a:t>&gt;11</a:t>
              </a:r>
            </a:p>
            <a:p>
              <a:pPr algn="l"/>
              <a:r>
                <a:rPr lang="en-US">
                  <a:solidFill>
                    <a:schemeClr val="bg1"/>
                  </a:solidFill>
                </a:rPr>
                <a:t>years of startup experience </a:t>
              </a:r>
            </a:p>
          </p:txBody>
        </p: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CA77BDA2-0081-D6AE-71FB-BF94C2028E5E}"/>
                </a:ext>
              </a:extLst>
            </p:cNvPr>
            <p:cNvGrpSpPr/>
            <p:nvPr/>
          </p:nvGrpSpPr>
          <p:grpSpPr>
            <a:xfrm>
              <a:off x="848284" y="3645906"/>
              <a:ext cx="4122680" cy="1492724"/>
              <a:chOff x="848284" y="3467684"/>
              <a:chExt cx="3778650" cy="1368159"/>
            </a:xfrm>
          </p:grpSpPr>
          <p:pic>
            <p:nvPicPr>
              <p:cNvPr id="13" name="Grafik 12">
                <a:extLst>
                  <a:ext uri="{FF2B5EF4-FFF2-40B4-BE49-F238E27FC236}">
                    <a16:creationId xmlns:a16="http://schemas.microsoft.com/office/drawing/2014/main" id="{E0762912-78CF-CE30-C9FE-5F877F572BE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848284" y="3467684"/>
                <a:ext cx="576000" cy="576000"/>
              </a:xfrm>
              <a:prstGeom prst="rect">
                <a:avLst/>
              </a:prstGeom>
            </p:spPr>
          </p:pic>
          <p:pic>
            <p:nvPicPr>
              <p:cNvPr id="19" name="Grafik 18" descr="Accenture">
                <a:extLst>
                  <a:ext uri="{FF2B5EF4-FFF2-40B4-BE49-F238E27FC236}">
                    <a16:creationId xmlns:a16="http://schemas.microsoft.com/office/drawing/2014/main" id="{A573393D-6F30-1C01-D8DE-91BDEC2EA36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2452616" y="3467684"/>
                <a:ext cx="563409" cy="576000"/>
              </a:xfrm>
              <a:prstGeom prst="rect">
                <a:avLst/>
              </a:prstGeom>
            </p:spPr>
          </p:pic>
          <p:pic>
            <p:nvPicPr>
              <p:cNvPr id="20" name="Grafik 19" descr="Futury">
                <a:extLst>
                  <a:ext uri="{FF2B5EF4-FFF2-40B4-BE49-F238E27FC236}">
                    <a16:creationId xmlns:a16="http://schemas.microsoft.com/office/drawing/2014/main" id="{052E9A48-0287-FAC7-F7DB-2A833FD49EB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1650450" y="3467684"/>
                <a:ext cx="576000" cy="576000"/>
              </a:xfrm>
              <a:prstGeom prst="rect">
                <a:avLst/>
              </a:prstGeom>
            </p:spPr>
          </p:pic>
          <p:pic>
            <p:nvPicPr>
              <p:cNvPr id="21" name="Grafik 20" descr="NRW.BANK">
                <a:extLst>
                  <a:ext uri="{FF2B5EF4-FFF2-40B4-BE49-F238E27FC236}">
                    <a16:creationId xmlns:a16="http://schemas.microsoft.com/office/drawing/2014/main" id="{91A0FF1C-365C-026A-5BA1-AC4FF8D263F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1655465" y="4259843"/>
                <a:ext cx="610386" cy="576000"/>
              </a:xfrm>
              <a:prstGeom prst="rect">
                <a:avLst/>
              </a:prstGeom>
            </p:spPr>
          </p:pic>
          <p:pic>
            <p:nvPicPr>
              <p:cNvPr id="22" name="Grafik 21" descr="Medizinische Hochschule Hannover">
                <a:extLst>
                  <a:ext uri="{FF2B5EF4-FFF2-40B4-BE49-F238E27FC236}">
                    <a16:creationId xmlns:a16="http://schemas.microsoft.com/office/drawing/2014/main" id="{5D062B2F-43B0-E8FF-7301-1DA331C02C7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4039910" y="3467684"/>
                <a:ext cx="587024" cy="576000"/>
              </a:xfrm>
              <a:prstGeom prst="rect">
                <a:avLst/>
              </a:prstGeom>
            </p:spPr>
          </p:pic>
          <p:pic>
            <p:nvPicPr>
              <p:cNvPr id="32" name="Grafik 31">
                <a:extLst>
                  <a:ext uri="{FF2B5EF4-FFF2-40B4-BE49-F238E27FC236}">
                    <a16:creationId xmlns:a16="http://schemas.microsoft.com/office/drawing/2014/main" id="{FE102C20-FA00-A4EE-3E10-AC8A726D195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/>
              <a:stretch>
                <a:fillRect/>
              </a:stretch>
            </p:blipFill>
            <p:spPr>
              <a:xfrm>
                <a:off x="848284" y="4259843"/>
                <a:ext cx="598701" cy="576000"/>
              </a:xfrm>
              <a:prstGeom prst="rect">
                <a:avLst/>
              </a:prstGeom>
            </p:spPr>
          </p:pic>
          <p:pic>
            <p:nvPicPr>
              <p:cNvPr id="39" name="Grafik 38">
                <a:extLst>
                  <a:ext uri="{FF2B5EF4-FFF2-40B4-BE49-F238E27FC236}">
                    <a16:creationId xmlns:a16="http://schemas.microsoft.com/office/drawing/2014/main" id="{4275E7E1-375B-32F4-61AA-5074098B6C0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/>
              <a:stretch>
                <a:fillRect/>
              </a:stretch>
            </p:blipFill>
            <p:spPr>
              <a:xfrm>
                <a:off x="4034395" y="4259843"/>
                <a:ext cx="592539" cy="576000"/>
              </a:xfrm>
              <a:prstGeom prst="rect">
                <a:avLst/>
              </a:prstGeom>
            </p:spPr>
          </p:pic>
          <p:pic>
            <p:nvPicPr>
              <p:cNvPr id="42" name="Grafik 41" descr="PYTHIA AI">
                <a:extLst>
                  <a:ext uri="{FF2B5EF4-FFF2-40B4-BE49-F238E27FC236}">
                    <a16:creationId xmlns:a16="http://schemas.microsoft.com/office/drawing/2014/main" id="{F3B5F006-5341-A4EC-28F9-41D17CA49B3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/>
              <a:stretch>
                <a:fillRect/>
              </a:stretch>
            </p:blipFill>
            <p:spPr>
              <a:xfrm>
                <a:off x="3242191" y="3467684"/>
                <a:ext cx="571552" cy="576000"/>
              </a:xfrm>
              <a:prstGeom prst="rect">
                <a:avLst/>
              </a:prstGeom>
            </p:spPr>
          </p:pic>
          <p:pic>
            <p:nvPicPr>
              <p:cNvPr id="43" name="Grafik 42" descr="itestra">
                <a:extLst>
                  <a:ext uri="{FF2B5EF4-FFF2-40B4-BE49-F238E27FC236}">
                    <a16:creationId xmlns:a16="http://schemas.microsoft.com/office/drawing/2014/main" id="{57801694-197C-6D50-E951-6B093A1AE88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/>
              <a:stretch>
                <a:fillRect/>
              </a:stretch>
            </p:blipFill>
            <p:spPr>
              <a:xfrm>
                <a:off x="3258811" y="4259843"/>
                <a:ext cx="567104" cy="576000"/>
              </a:xfrm>
              <a:prstGeom prst="rect">
                <a:avLst/>
              </a:prstGeom>
            </p:spPr>
          </p:pic>
          <p:pic>
            <p:nvPicPr>
              <p:cNvPr id="44" name="Grafik 43">
                <a:extLst>
                  <a:ext uri="{FF2B5EF4-FFF2-40B4-BE49-F238E27FC236}">
                    <a16:creationId xmlns:a16="http://schemas.microsoft.com/office/drawing/2014/main" id="{B79FA5D8-058D-50A6-5290-30EF4C71279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7"/>
              <a:stretch>
                <a:fillRect/>
              </a:stretch>
            </p:blipFill>
            <p:spPr>
              <a:xfrm>
                <a:off x="2474331" y="4259843"/>
                <a:ext cx="576000" cy="576000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39143862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3D0EAB2B-3934-4F89-1165-7C84469EA671}"/>
              </a:ext>
            </a:extLst>
          </p:cNvPr>
          <p:cNvSpPr txBox="1"/>
          <p:nvPr/>
        </p:nvSpPr>
        <p:spPr>
          <a:xfrm>
            <a:off x="3275807" y="2544143"/>
            <a:ext cx="5640390" cy="176971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1500" b="1">
                <a:solidFill>
                  <a:schemeClr val="bg1"/>
                </a:solidFill>
              </a:rPr>
              <a:t>Analyze 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C67676D-520E-AEA7-7641-89BE57F111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rtl="0"/>
            <a:r>
              <a:rPr lang="en-US" noProof="0"/>
              <a:t>Q-Hack 25</a:t>
            </a:r>
            <a:endParaRPr lang="de-DE" noProof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0EED153-45C7-89FD-D233-E6898C27AD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rtl="0"/>
            <a:r>
              <a:rPr lang="de-DE" noProof="0"/>
              <a:t>disQover Pitch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DEEB9E1-1252-5650-F758-B19FE76244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rtl="0"/>
            <a:fld id="{A402E4C0-AD5E-4E8C-9F21-7CCE474BDCEB}" type="slidenum">
              <a:rPr lang="de-DE" noProof="0" smtClean="0"/>
              <a:t>14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218229120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8C3E1C8-7000-0DBD-58FE-062D47D9F7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38829488-C6FF-8B76-7DCF-8FEDCE0C15CF}"/>
              </a:ext>
            </a:extLst>
          </p:cNvPr>
          <p:cNvSpPr txBox="1"/>
          <p:nvPr/>
        </p:nvSpPr>
        <p:spPr>
          <a:xfrm>
            <a:off x="2996114" y="2544143"/>
            <a:ext cx="6199774" cy="1769715"/>
          </a:xfrm>
          <a:prstGeom prst="rect">
            <a:avLst/>
          </a:prstGeom>
          <a:noFill/>
        </p:spPr>
        <p:txBody>
          <a:bodyPr wrap="none" lIns="0" tIns="0" rIns="0" bIns="0" rtlCol="0" anchor="t">
            <a:spAutoFit/>
          </a:bodyPr>
          <a:lstStyle/>
          <a:p>
            <a:pPr algn="ctr"/>
            <a:r>
              <a:rPr lang="en-US" sz="11500" b="1">
                <a:solidFill>
                  <a:schemeClr val="bg1"/>
                </a:solidFill>
              </a:rPr>
              <a:t>Evaluate 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766418C-C33C-272E-DA69-A75B1E3326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rtl="0"/>
            <a:r>
              <a:rPr lang="en-US" noProof="0"/>
              <a:t>Q-Hack 25</a:t>
            </a:r>
            <a:endParaRPr lang="de-DE" noProof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CB40E3A-CF63-48F1-BE23-8B9B0B5284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rtl="0"/>
            <a:r>
              <a:rPr lang="de-DE" noProof="0"/>
              <a:t>disQover Pitch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B51CFBB-6A06-0B40-D9A8-CE0548F40B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rtl="0"/>
            <a:fld id="{A402E4C0-AD5E-4E8C-9F21-7CCE474BDCEB}" type="slidenum">
              <a:rPr lang="de-DE" noProof="0" smtClean="0"/>
              <a:t>15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254470483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99AF2E4-24C4-BAB2-81F9-3A87D138D23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8C55F012-2556-6B79-F9B8-E683C257B7E6}"/>
              </a:ext>
            </a:extLst>
          </p:cNvPr>
          <p:cNvSpPr txBox="1"/>
          <p:nvPr/>
        </p:nvSpPr>
        <p:spPr>
          <a:xfrm>
            <a:off x="3531196" y="2544143"/>
            <a:ext cx="5129610" cy="1769715"/>
          </a:xfrm>
          <a:prstGeom prst="rect">
            <a:avLst/>
          </a:prstGeom>
          <a:noFill/>
        </p:spPr>
        <p:txBody>
          <a:bodyPr wrap="none" lIns="0" tIns="0" rIns="0" bIns="0" rtlCol="0" anchor="t">
            <a:spAutoFit/>
          </a:bodyPr>
          <a:lstStyle/>
          <a:p>
            <a:pPr algn="ctr"/>
            <a:r>
              <a:rPr lang="en-US" sz="11500" b="1">
                <a:solidFill>
                  <a:schemeClr val="bg1"/>
                </a:solidFill>
              </a:rPr>
              <a:t>Decide 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9E615D7-CC5A-9057-7DF8-D7433BB8CF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rtl="0"/>
            <a:r>
              <a:rPr lang="en-US" noProof="0"/>
              <a:t>Q-Hack 25</a:t>
            </a:r>
            <a:endParaRPr lang="de-DE" noProof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6A00F81-9666-FC49-00EB-1049347D29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rtl="0"/>
            <a:r>
              <a:rPr lang="de-DE" noProof="0"/>
              <a:t>disQover Pitch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4A4F4C3-199B-67A2-362D-5221410015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rtl="0"/>
            <a:fld id="{A402E4C0-AD5E-4E8C-9F21-7CCE474BDCEB}" type="slidenum">
              <a:rPr lang="de-DE" noProof="0" smtClean="0"/>
              <a:t>16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325073447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64A2123-7B95-B7B1-EB78-CF8F40205D2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4F8E5849-93B1-665D-2D22-56909A167917}"/>
              </a:ext>
            </a:extLst>
          </p:cNvPr>
          <p:cNvSpPr txBox="1"/>
          <p:nvPr/>
        </p:nvSpPr>
        <p:spPr>
          <a:xfrm>
            <a:off x="3861222" y="2544143"/>
            <a:ext cx="4469558" cy="1769715"/>
          </a:xfrm>
          <a:prstGeom prst="rect">
            <a:avLst/>
          </a:prstGeom>
          <a:noFill/>
        </p:spPr>
        <p:txBody>
          <a:bodyPr wrap="none" lIns="0" tIns="0" rIns="0" bIns="0" rtlCol="0" anchor="t">
            <a:spAutoFit/>
          </a:bodyPr>
          <a:lstStyle/>
          <a:p>
            <a:pPr algn="ctr"/>
            <a:r>
              <a:rPr lang="en-US" sz="11500" b="1">
                <a:solidFill>
                  <a:schemeClr val="bg1"/>
                </a:solidFill>
              </a:rPr>
              <a:t>Invest 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78369AB-62D2-A0F4-21C7-9C4D3B009C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rtl="0"/>
            <a:r>
              <a:rPr lang="en-US" noProof="0"/>
              <a:t>Q-Hack 25</a:t>
            </a:r>
            <a:endParaRPr lang="de-DE" noProof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91540A9-18E1-E5CA-ADDF-34D157FF08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rtl="0"/>
            <a:r>
              <a:rPr lang="de-DE" noProof="0"/>
              <a:t>disQover Pitch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AB833EF-4F75-EB44-83B0-CCCDD9A52D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rtl="0"/>
            <a:fld id="{A402E4C0-AD5E-4E8C-9F21-7CCE474BDCEB}" type="slidenum">
              <a:rPr lang="de-DE" noProof="0" smtClean="0"/>
              <a:t>17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92570006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9C61BD8-98C9-0955-0D0D-6CDBFD0FBE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A74CF15-BCA0-11D4-874C-03D34E2AC0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rtl="0"/>
            <a:r>
              <a:rPr lang="en-US" noProof="0"/>
              <a:t>Q-Hack 25</a:t>
            </a:r>
            <a:endParaRPr lang="de-DE" noProof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51D330B-4948-B0B6-BD1E-643A4F226C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rtl="0"/>
            <a:fld id="{A402E4C0-AD5E-4E8C-9F21-7CCE474BDCEB}" type="slidenum">
              <a:rPr lang="de-DE" noProof="0" smtClean="0"/>
              <a:t>18</a:t>
            </a:fld>
            <a:endParaRPr lang="de-DE" noProof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D16AA48-EBC8-1063-DA5D-F3C3C48AFE83}"/>
              </a:ext>
            </a:extLst>
          </p:cNvPr>
          <p:cNvSpPr/>
          <p:nvPr/>
        </p:nvSpPr>
        <p:spPr>
          <a:xfrm>
            <a:off x="2540000" y="1584960"/>
            <a:ext cx="7355840" cy="2692400"/>
          </a:xfrm>
          <a:prstGeom prst="rect">
            <a:avLst/>
          </a:prstGeom>
          <a:noFill/>
          <a:ln w="5715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600" b="1"/>
              <a:t>DISQOVER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DCD1470-9524-D3FE-BD66-B755D8AEC17F}"/>
              </a:ext>
            </a:extLst>
          </p:cNvPr>
          <p:cNvSpPr txBox="1"/>
          <p:nvPr/>
        </p:nvSpPr>
        <p:spPr>
          <a:xfrm>
            <a:off x="3738884" y="4790043"/>
            <a:ext cx="4714236" cy="73866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400" b="1">
                <a:solidFill>
                  <a:schemeClr val="bg1"/>
                </a:solidFill>
              </a:rPr>
              <a:t>We find, analyze and evaluate startup deals for VCs.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A870CC5-7F32-A406-D15C-07CD96D5D492}"/>
              </a:ext>
            </a:extLst>
          </p:cNvPr>
          <p:cNvSpPr txBox="1"/>
          <p:nvPr/>
        </p:nvSpPr>
        <p:spPr>
          <a:xfrm>
            <a:off x="3048965" y="6407655"/>
            <a:ext cx="6094070" cy="24622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 rtl="0">
              <a:defRPr lang="de-DE"/>
            </a:defPPr>
            <a:lvl1pPr algn="ctr">
              <a:defRPr sz="1000" cap="all" spc="100" baseline="0">
                <a:solidFill>
                  <a:schemeClr val="bg1">
                    <a:lumMod val="95000"/>
                  </a:schemeClr>
                </a:solidFill>
                <a:latin typeface="Posterama" panose="020B0504020200020000" pitchFamily="34" charset="0"/>
                <a:cs typeface="Posterama" panose="020B0504020200020000" pitchFamily="34" charset="0"/>
              </a:defRPr>
            </a:lvl1pPr>
          </a:lstStyle>
          <a:p>
            <a:r>
              <a:rPr lang="de-DE"/>
              <a:t>ALEXANDER, COSIMA, DEMYAN, FLORIAN, JIJO</a:t>
            </a:r>
          </a:p>
        </p:txBody>
      </p:sp>
    </p:spTree>
    <p:extLst>
      <p:ext uri="{BB962C8B-B14F-4D97-AF65-F5344CB8AC3E}">
        <p14:creationId xmlns:p14="http://schemas.microsoft.com/office/powerpoint/2010/main" val="1425407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F61EE79-32C3-E498-8786-A6FBD1C7332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C4AA53F-4201-9443-19B1-C60BF61792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rtl="0"/>
            <a:r>
              <a:rPr lang="en-US" noProof="0"/>
              <a:t>Q-Hack 25</a:t>
            </a:r>
            <a:endParaRPr lang="de-DE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F50700A-556C-A168-C313-979A7ADFD1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rtl="0"/>
            <a:r>
              <a:rPr lang="de-DE" noProof="0"/>
              <a:t>disQover Pitch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ED8535C-D280-C530-2786-9FA62D3AE9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rtl="0"/>
            <a:fld id="{A402E4C0-AD5E-4E8C-9F21-7CCE474BDCEB}" type="slidenum">
              <a:rPr lang="de-DE" noProof="0" smtClean="0"/>
              <a:pPr rtl="0"/>
              <a:t>19</a:t>
            </a:fld>
            <a:endParaRPr lang="de-DE" noProof="0"/>
          </a:p>
        </p:txBody>
      </p: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2867D1D4-F1A3-37AB-1889-C44B9F7F5725}"/>
              </a:ext>
            </a:extLst>
          </p:cNvPr>
          <p:cNvCxnSpPr/>
          <p:nvPr/>
        </p:nvCxnSpPr>
        <p:spPr>
          <a:xfrm>
            <a:off x="838200" y="1783080"/>
            <a:ext cx="105156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r Verbinder 40">
            <a:extLst>
              <a:ext uri="{FF2B5EF4-FFF2-40B4-BE49-F238E27FC236}">
                <a16:creationId xmlns:a16="http://schemas.microsoft.com/office/drawing/2014/main" id="{D14EFAB5-0218-F21F-49B2-EC9257C78C89}"/>
              </a:ext>
            </a:extLst>
          </p:cNvPr>
          <p:cNvCxnSpPr/>
          <p:nvPr/>
        </p:nvCxnSpPr>
        <p:spPr>
          <a:xfrm>
            <a:off x="838200" y="5313682"/>
            <a:ext cx="105156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el 28">
            <a:extLst>
              <a:ext uri="{FF2B5EF4-FFF2-40B4-BE49-F238E27FC236}">
                <a16:creationId xmlns:a16="http://schemas.microsoft.com/office/drawing/2014/main" id="{7ED3B6F3-411A-0CA0-40CC-0BEE401406F0}"/>
              </a:ext>
            </a:extLst>
          </p:cNvPr>
          <p:cNvSpPr txBox="1">
            <a:spLocks/>
          </p:cNvSpPr>
          <p:nvPr/>
        </p:nvSpPr>
        <p:spPr>
          <a:xfrm>
            <a:off x="794508" y="519712"/>
            <a:ext cx="3106932" cy="36576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 u="none" strike="noStrike" cap="all" spc="400" normalizeH="0" baseline="0">
                <a:ln w="19050">
                  <a:solidFill>
                    <a:schemeClr val="accent5"/>
                  </a:solidFill>
                </a:ln>
                <a:noFill/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sz="2000">
                <a:ln w="19050">
                  <a:solidFill>
                    <a:schemeClr val="accent5">
                      <a:alpha val="70000"/>
                    </a:schemeClr>
                  </a:solidFill>
                </a:ln>
              </a:rPr>
              <a:t>Appendix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359DD40-323D-6190-97E5-9F5AC2CA45E9}"/>
              </a:ext>
            </a:extLst>
          </p:cNvPr>
          <p:cNvSpPr txBox="1"/>
          <p:nvPr/>
        </p:nvSpPr>
        <p:spPr>
          <a:xfrm>
            <a:off x="709943" y="1928140"/>
            <a:ext cx="10772115" cy="338554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22000" b="1">
                <a:solidFill>
                  <a:schemeClr val="bg1"/>
                </a:solidFill>
              </a:rPr>
              <a:t>BACKUP</a:t>
            </a:r>
          </a:p>
        </p:txBody>
      </p:sp>
    </p:spTree>
    <p:extLst>
      <p:ext uri="{BB962C8B-B14F-4D97-AF65-F5344CB8AC3E}">
        <p14:creationId xmlns:p14="http://schemas.microsoft.com/office/powerpoint/2010/main" val="228162281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DEA8BC8-6377-5967-8812-88A32BBF98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rtl="0"/>
            <a:r>
              <a:rPr lang="en-US" noProof="0"/>
              <a:t>Q-Hack 25</a:t>
            </a:r>
            <a:endParaRPr lang="de-DE" noProof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C5E611D-0182-17E9-4B36-096478042A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rtl="0"/>
            <a:fld id="{A402E4C0-AD5E-4E8C-9F21-7CCE474BDCEB}" type="slidenum">
              <a:rPr lang="de-DE" noProof="0" smtClean="0"/>
              <a:t>2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315865755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5D496F2E-57F9-FCF1-27B3-B7DDC91A38E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33">
            <a:extLst>
              <a:ext uri="{FF2B5EF4-FFF2-40B4-BE49-F238E27FC236}">
                <a16:creationId xmlns:a16="http://schemas.microsoft.com/office/drawing/2014/main" id="{E34474BB-8ED6-EB03-08BC-38D66166673C}"/>
              </a:ext>
            </a:extLst>
          </p:cNvPr>
          <p:cNvSpPr txBox="1">
            <a:spLocks/>
          </p:cNvSpPr>
          <p:nvPr/>
        </p:nvSpPr>
        <p:spPr>
          <a:xfrm>
            <a:off x="794508" y="989857"/>
            <a:ext cx="10686292" cy="4694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4400" b="1" kern="1200" cap="all" spc="400" baseline="0">
                <a:ln w="19050">
                  <a:solidFill>
                    <a:schemeClr val="accent2"/>
                  </a:solidFill>
                </a:ln>
                <a:noFill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2500">
                <a:ln w="19050">
                  <a:noFill/>
                </a:ln>
                <a:solidFill>
                  <a:schemeClr val="bg1"/>
                </a:solidFill>
                <a:latin typeface="Arial"/>
                <a:cs typeface="Arial"/>
              </a:rPr>
              <a:t>Multi-agent-architecture</a:t>
            </a:r>
            <a:endParaRPr lang="en-US">
              <a:solidFill>
                <a:schemeClr val="bg1"/>
              </a:solidFill>
            </a:endParaRPr>
          </a:p>
        </p:txBody>
      </p:sp>
      <p:sp>
        <p:nvSpPr>
          <p:cNvPr id="3" name="Titel 28">
            <a:extLst>
              <a:ext uri="{FF2B5EF4-FFF2-40B4-BE49-F238E27FC236}">
                <a16:creationId xmlns:a16="http://schemas.microsoft.com/office/drawing/2014/main" id="{783E7AFD-5801-C282-247D-05336ABF0FD0}"/>
              </a:ext>
            </a:extLst>
          </p:cNvPr>
          <p:cNvSpPr txBox="1">
            <a:spLocks/>
          </p:cNvSpPr>
          <p:nvPr/>
        </p:nvSpPr>
        <p:spPr>
          <a:xfrm>
            <a:off x="794508" y="519712"/>
            <a:ext cx="3106932" cy="36576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 u="none" strike="noStrike" cap="all" spc="400" normalizeH="0" baseline="0">
                <a:ln w="19050">
                  <a:solidFill>
                    <a:schemeClr val="accent5"/>
                  </a:solidFill>
                </a:ln>
                <a:noFill/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sz="2000">
                <a:ln w="19050">
                  <a:solidFill>
                    <a:schemeClr val="accent5">
                      <a:alpha val="70000"/>
                    </a:schemeClr>
                  </a:solidFill>
                </a:ln>
              </a:rPr>
              <a:t>Tech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0CCF5F24-C98E-131A-2245-97B2EBC2A2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rtl="0"/>
            <a:r>
              <a:rPr lang="en-US" noProof="0"/>
              <a:t>Q-Hack 25</a:t>
            </a:r>
            <a:endParaRPr lang="de-DE" noProof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F9847A1-BFB1-0F5D-BB7C-ED73409D84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rtl="0"/>
            <a:r>
              <a:rPr lang="de-DE" noProof="0"/>
              <a:t>disQover Pitch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3F18C84-D506-AA2D-4221-D88684CFB2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rtl="0"/>
            <a:fld id="{A402E4C0-AD5E-4E8C-9F21-7CCE474BDCEB}" type="slidenum">
              <a:rPr lang="de-DE" noProof="0" smtClean="0"/>
              <a:t>20</a:t>
            </a:fld>
            <a:endParaRPr lang="de-DE" noProof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80773A49-7E9D-55CA-0812-F7F7698F823C}"/>
              </a:ext>
            </a:extLst>
          </p:cNvPr>
          <p:cNvGrpSpPr/>
          <p:nvPr/>
        </p:nvGrpSpPr>
        <p:grpSpPr>
          <a:xfrm>
            <a:off x="786341" y="1678392"/>
            <a:ext cx="11065633" cy="4422084"/>
            <a:chOff x="786341" y="1678392"/>
            <a:chExt cx="11065633" cy="442208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21AB45A-AFE1-7C24-4307-F23385BB8733}"/>
                </a:ext>
              </a:extLst>
            </p:cNvPr>
            <p:cNvSpPr/>
            <p:nvPr/>
          </p:nvSpPr>
          <p:spPr>
            <a:xfrm>
              <a:off x="4060513" y="1678392"/>
              <a:ext cx="3643556" cy="565573"/>
            </a:xfrm>
            <a:prstGeom prst="rect">
              <a:avLst/>
            </a:prstGeom>
            <a:solidFill>
              <a:schemeClr val="tx2">
                <a:alpha val="34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t"/>
            <a:lstStyle/>
            <a:p>
              <a:pPr algn="ctr"/>
              <a:r>
                <a:rPr lang="en-US" sz="2000" b="1"/>
                <a:t>Orchestrator Agent</a:t>
              </a:r>
            </a:p>
          </p:txBody>
        </p:sp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8E3ABB13-CDDE-55C5-A2BE-88EEC7FFAEBD}"/>
                </a:ext>
              </a:extLst>
            </p:cNvPr>
            <p:cNvGrpSpPr/>
            <p:nvPr/>
          </p:nvGrpSpPr>
          <p:grpSpPr>
            <a:xfrm>
              <a:off x="1519619" y="2878667"/>
              <a:ext cx="4271085" cy="1447104"/>
              <a:chOff x="6380482" y="1778000"/>
              <a:chExt cx="4973320" cy="1856621"/>
            </a:xfrm>
          </p:grpSpPr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63F865C5-4E7C-FEE7-E559-87526FE7BDFD}"/>
                  </a:ext>
                </a:extLst>
              </p:cNvPr>
              <p:cNvSpPr/>
              <p:nvPr/>
            </p:nvSpPr>
            <p:spPr>
              <a:xfrm>
                <a:off x="6380482" y="1778000"/>
                <a:ext cx="4973320" cy="1856621"/>
              </a:xfrm>
              <a:prstGeom prst="rect">
                <a:avLst/>
              </a:prstGeom>
              <a:solidFill>
                <a:schemeClr val="tx2">
                  <a:alpha val="3400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40" tIns="45720" rIns="91440" bIns="45720" rtlCol="0" anchor="t"/>
              <a:lstStyle/>
              <a:p>
                <a:pPr algn="ctr"/>
                <a:r>
                  <a:rPr lang="en-US" sz="2000" b="1"/>
                  <a:t>Extractors Agents</a:t>
                </a:r>
                <a:endParaRPr lang="en-US"/>
              </a:p>
            </p:txBody>
          </p: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32C225E0-07E4-32E3-A083-287E8A4CFC32}"/>
                  </a:ext>
                </a:extLst>
              </p:cNvPr>
              <p:cNvSpPr/>
              <p:nvPr/>
            </p:nvSpPr>
            <p:spPr>
              <a:xfrm>
                <a:off x="8990353" y="2394388"/>
                <a:ext cx="2081506" cy="950703"/>
              </a:xfrm>
              <a:prstGeom prst="rect">
                <a:avLst/>
              </a:prstGeom>
              <a:solidFill>
                <a:schemeClr val="tx2">
                  <a:alpha val="3400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40" tIns="45720" rIns="91440" bIns="45720" rtlCol="0" anchor="t"/>
              <a:lstStyle/>
              <a:p>
                <a:pPr algn="ctr"/>
                <a:r>
                  <a:rPr lang="en-US"/>
                  <a:t>Web-Extractor</a:t>
                </a:r>
              </a:p>
              <a:p>
                <a:pPr algn="ctr"/>
                <a:r>
                  <a:rPr lang="en-US"/>
                  <a:t>Agent</a:t>
                </a:r>
              </a:p>
              <a:p>
                <a:pPr algn="ctr"/>
                <a:endParaRPr lang="en-US"/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C34476AD-6AF8-CD51-7AF8-9756811E7FDB}"/>
                  </a:ext>
                </a:extLst>
              </p:cNvPr>
              <p:cNvSpPr/>
              <p:nvPr/>
            </p:nvSpPr>
            <p:spPr>
              <a:xfrm>
                <a:off x="6645910" y="2394388"/>
                <a:ext cx="2110740" cy="950703"/>
              </a:xfrm>
              <a:prstGeom prst="rect">
                <a:avLst/>
              </a:prstGeom>
              <a:solidFill>
                <a:schemeClr val="tx2">
                  <a:alpha val="3400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40" tIns="45720" rIns="91440" bIns="45720" rtlCol="0" anchor="t"/>
              <a:lstStyle/>
              <a:p>
                <a:pPr algn="ctr"/>
                <a:r>
                  <a:rPr lang="en-US"/>
                  <a:t>PDF-Extractor</a:t>
                </a:r>
                <a:br>
                  <a:rPr lang="en-US"/>
                </a:br>
                <a:r>
                  <a:rPr lang="en-US"/>
                  <a:t>Agent</a:t>
                </a:r>
              </a:p>
              <a:p>
                <a:pPr algn="ctr"/>
                <a:endParaRPr lang="en-US"/>
              </a:p>
            </p:txBody>
          </p:sp>
        </p:grp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A37CB2FE-062A-79B6-4708-ED49955A0426}"/>
                </a:ext>
              </a:extLst>
            </p:cNvPr>
            <p:cNvGrpSpPr/>
            <p:nvPr/>
          </p:nvGrpSpPr>
          <p:grpSpPr>
            <a:xfrm>
              <a:off x="5999981" y="2881654"/>
              <a:ext cx="4933972" cy="1447106"/>
              <a:chOff x="5999981" y="2881654"/>
              <a:chExt cx="4460339" cy="1447106"/>
            </a:xfrm>
          </p:grpSpPr>
          <p:sp>
            <p:nvSpPr>
              <p:cNvPr id="10" name="Rectangle 9">
                <a:extLst>
                  <a:ext uri="{FF2B5EF4-FFF2-40B4-BE49-F238E27FC236}">
                    <a16:creationId xmlns:a16="http://schemas.microsoft.com/office/drawing/2014/main" id="{B37773DD-49A3-998F-B174-49BF71B3DC2C}"/>
                  </a:ext>
                </a:extLst>
              </p:cNvPr>
              <p:cNvSpPr/>
              <p:nvPr/>
            </p:nvSpPr>
            <p:spPr>
              <a:xfrm>
                <a:off x="5999981" y="2881654"/>
                <a:ext cx="4460339" cy="1447106"/>
              </a:xfrm>
              <a:prstGeom prst="rect">
                <a:avLst/>
              </a:prstGeom>
              <a:solidFill>
                <a:schemeClr val="tx2">
                  <a:alpha val="3400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40" tIns="45720" rIns="91440" bIns="45720" rtlCol="0" anchor="t"/>
              <a:lstStyle/>
              <a:p>
                <a:pPr algn="ctr"/>
                <a:r>
                  <a:rPr lang="en-US" sz="2000" b="1"/>
                  <a:t>Processor Agents</a:t>
                </a:r>
                <a:endParaRPr lang="en-US"/>
              </a:p>
            </p:txBody>
          </p:sp>
          <p:grpSp>
            <p:nvGrpSpPr>
              <p:cNvPr id="11" name="Group 10">
                <a:extLst>
                  <a:ext uri="{FF2B5EF4-FFF2-40B4-BE49-F238E27FC236}">
                    <a16:creationId xmlns:a16="http://schemas.microsoft.com/office/drawing/2014/main" id="{3607725C-E113-BAD9-A98E-5E87ABECD90A}"/>
                  </a:ext>
                </a:extLst>
              </p:cNvPr>
              <p:cNvGrpSpPr/>
              <p:nvPr/>
            </p:nvGrpSpPr>
            <p:grpSpPr>
              <a:xfrm>
                <a:off x="6260932" y="3371925"/>
                <a:ext cx="4049043" cy="732128"/>
                <a:chOff x="6260932" y="3371925"/>
                <a:chExt cx="4049043" cy="732128"/>
              </a:xfrm>
            </p:grpSpPr>
            <p:sp>
              <p:nvSpPr>
                <p:cNvPr id="14" name="Rectangle 13">
                  <a:extLst>
                    <a:ext uri="{FF2B5EF4-FFF2-40B4-BE49-F238E27FC236}">
                      <a16:creationId xmlns:a16="http://schemas.microsoft.com/office/drawing/2014/main" id="{838FF792-62D8-76FE-9228-EB2D8F1B8C4B}"/>
                    </a:ext>
                  </a:extLst>
                </p:cNvPr>
                <p:cNvSpPr/>
                <p:nvPr/>
              </p:nvSpPr>
              <p:spPr>
                <a:xfrm>
                  <a:off x="6260932" y="3371926"/>
                  <a:ext cx="1205240" cy="732127"/>
                </a:xfrm>
                <a:prstGeom prst="rect">
                  <a:avLst/>
                </a:prstGeom>
                <a:solidFill>
                  <a:schemeClr val="tx2">
                    <a:alpha val="34000"/>
                  </a:schemeClr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91440" tIns="45720" rIns="91440" bIns="45720" rtlCol="0" anchor="t"/>
                <a:lstStyle/>
                <a:p>
                  <a:pPr algn="ctr"/>
                  <a:r>
                    <a:rPr lang="en-US"/>
                    <a:t>News</a:t>
                  </a:r>
                  <a:br>
                    <a:rPr lang="en-US"/>
                  </a:br>
                  <a:r>
                    <a:rPr lang="en-US"/>
                    <a:t>Agent</a:t>
                  </a:r>
                </a:p>
                <a:p>
                  <a:pPr algn="ctr"/>
                  <a:endParaRPr lang="en-US"/>
                </a:p>
              </p:txBody>
            </p:sp>
            <p:sp>
              <p:nvSpPr>
                <p:cNvPr id="25" name="Rectangle 24">
                  <a:extLst>
                    <a:ext uri="{FF2B5EF4-FFF2-40B4-BE49-F238E27FC236}">
                      <a16:creationId xmlns:a16="http://schemas.microsoft.com/office/drawing/2014/main" id="{746A20A2-ED1B-31FB-2EE7-2DFB1DD8B967}"/>
                    </a:ext>
                  </a:extLst>
                </p:cNvPr>
                <p:cNvSpPr/>
                <p:nvPr/>
              </p:nvSpPr>
              <p:spPr>
                <a:xfrm>
                  <a:off x="7700265" y="3371926"/>
                  <a:ext cx="1205240" cy="732127"/>
                </a:xfrm>
                <a:prstGeom prst="rect">
                  <a:avLst/>
                </a:prstGeom>
                <a:solidFill>
                  <a:schemeClr val="tx2">
                    <a:alpha val="34000"/>
                  </a:schemeClr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91440" tIns="45720" rIns="91440" bIns="45720" rtlCol="0" anchor="t"/>
                <a:lstStyle/>
                <a:p>
                  <a:pPr algn="ctr"/>
                  <a:r>
                    <a:rPr lang="en-US"/>
                    <a:t>LinkedIn</a:t>
                  </a:r>
                  <a:br>
                    <a:rPr lang="en-US"/>
                  </a:br>
                  <a:r>
                    <a:rPr lang="en-US"/>
                    <a:t>Agent</a:t>
                  </a:r>
                </a:p>
                <a:p>
                  <a:pPr algn="ctr"/>
                  <a:endParaRPr lang="en-US"/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51092854-CEDB-2D26-5900-3BF656BDA613}"/>
                    </a:ext>
                  </a:extLst>
                </p:cNvPr>
                <p:cNvSpPr/>
                <p:nvPr/>
              </p:nvSpPr>
              <p:spPr>
                <a:xfrm>
                  <a:off x="9104735" y="3371925"/>
                  <a:ext cx="1205240" cy="732127"/>
                </a:xfrm>
                <a:prstGeom prst="rect">
                  <a:avLst/>
                </a:prstGeom>
                <a:solidFill>
                  <a:schemeClr val="tx2">
                    <a:alpha val="34000"/>
                  </a:schemeClr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91440" tIns="45720" rIns="91440" bIns="45720" rtlCol="0" anchor="t"/>
                <a:lstStyle/>
                <a:p>
                  <a:pPr algn="ctr"/>
                  <a:r>
                    <a:rPr lang="en-US"/>
                    <a:t>Financial</a:t>
                  </a:r>
                  <a:br>
                    <a:rPr lang="en-US"/>
                  </a:br>
                  <a:r>
                    <a:rPr lang="en-US"/>
                    <a:t>Agent</a:t>
                  </a:r>
                </a:p>
                <a:p>
                  <a:pPr algn="ctr"/>
                  <a:endParaRPr lang="en-US"/>
                </a:p>
              </p:txBody>
            </p:sp>
          </p:grpSp>
        </p:grpSp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B70F7B2E-1518-9735-12E0-5EA014FC48E4}"/>
                </a:ext>
              </a:extLst>
            </p:cNvPr>
            <p:cNvGrpSpPr/>
            <p:nvPr/>
          </p:nvGrpSpPr>
          <p:grpSpPr>
            <a:xfrm>
              <a:off x="1517628" y="4709458"/>
              <a:ext cx="4276065" cy="1347497"/>
              <a:chOff x="6380482" y="1778000"/>
              <a:chExt cx="4973320" cy="1856621"/>
            </a:xfrm>
          </p:grpSpPr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949FF52C-8CF9-1860-3DEB-9AFEE52BD8AF}"/>
                  </a:ext>
                </a:extLst>
              </p:cNvPr>
              <p:cNvSpPr/>
              <p:nvPr/>
            </p:nvSpPr>
            <p:spPr>
              <a:xfrm>
                <a:off x="6380482" y="1778000"/>
                <a:ext cx="4973320" cy="1856621"/>
              </a:xfrm>
              <a:prstGeom prst="rect">
                <a:avLst/>
              </a:prstGeom>
              <a:solidFill>
                <a:schemeClr val="tx2">
                  <a:alpha val="3400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40" tIns="45720" rIns="91440" bIns="45720" rtlCol="0" anchor="t"/>
              <a:lstStyle/>
              <a:p>
                <a:pPr algn="ctr"/>
                <a:r>
                  <a:rPr lang="en-US" sz="2000" b="1"/>
                  <a:t>Tools</a:t>
                </a:r>
                <a:endParaRPr lang="en-US"/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DC234B45-413D-4E48-0C1A-CBA7285728D3}"/>
                  </a:ext>
                </a:extLst>
              </p:cNvPr>
              <p:cNvSpPr/>
              <p:nvPr/>
            </p:nvSpPr>
            <p:spPr>
              <a:xfrm>
                <a:off x="8990353" y="2394388"/>
                <a:ext cx="2081506" cy="950703"/>
              </a:xfrm>
              <a:prstGeom prst="rect">
                <a:avLst/>
              </a:prstGeom>
              <a:solidFill>
                <a:schemeClr val="tx2">
                  <a:alpha val="3400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40" tIns="45720" rIns="91440" bIns="45720" rtlCol="0" anchor="t"/>
              <a:lstStyle/>
              <a:p>
                <a:pPr algn="ctr"/>
                <a:r>
                  <a:rPr lang="en-US"/>
                  <a:t>Web-Search</a:t>
                </a:r>
              </a:p>
              <a:p>
                <a:pPr algn="ctr"/>
                <a:endParaRPr lang="en-US"/>
              </a:p>
            </p:txBody>
          </p:sp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2BA8294E-60DE-8B93-BCE3-FD55AB12E939}"/>
                  </a:ext>
                </a:extLst>
              </p:cNvPr>
              <p:cNvSpPr/>
              <p:nvPr/>
            </p:nvSpPr>
            <p:spPr>
              <a:xfrm>
                <a:off x="6645910" y="2394388"/>
                <a:ext cx="2110740" cy="950703"/>
              </a:xfrm>
              <a:prstGeom prst="rect">
                <a:avLst/>
              </a:prstGeom>
              <a:solidFill>
                <a:schemeClr val="tx2">
                  <a:alpha val="3400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40" tIns="45720" rIns="91440" bIns="45720" rtlCol="0" anchor="t"/>
              <a:lstStyle/>
              <a:p>
                <a:pPr algn="ctr"/>
                <a:r>
                  <a:rPr lang="en-US"/>
                  <a:t>PDF-Extraction</a:t>
                </a:r>
                <a:br>
                  <a:rPr lang="en-US"/>
                </a:br>
                <a:r>
                  <a:rPr lang="en-US"/>
                  <a:t>Tool</a:t>
                </a:r>
              </a:p>
              <a:p>
                <a:pPr algn="ctr"/>
                <a:endParaRPr lang="en-US"/>
              </a:p>
            </p:txBody>
          </p:sp>
        </p:grp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F05307A8-6D69-8DEB-86F3-337375EB4CD6}"/>
                </a:ext>
              </a:extLst>
            </p:cNvPr>
            <p:cNvGrpSpPr/>
            <p:nvPr/>
          </p:nvGrpSpPr>
          <p:grpSpPr>
            <a:xfrm>
              <a:off x="5983047" y="4717428"/>
              <a:ext cx="4928496" cy="1322595"/>
              <a:chOff x="6380482" y="1778000"/>
              <a:chExt cx="5487853" cy="1856621"/>
            </a:xfrm>
          </p:grpSpPr>
          <p:sp>
            <p:nvSpPr>
              <p:cNvPr id="50" name="Rectangle 49">
                <a:extLst>
                  <a:ext uri="{FF2B5EF4-FFF2-40B4-BE49-F238E27FC236}">
                    <a16:creationId xmlns:a16="http://schemas.microsoft.com/office/drawing/2014/main" id="{8673C22C-4FF7-58F5-30EB-9775A31F69AA}"/>
                  </a:ext>
                </a:extLst>
              </p:cNvPr>
              <p:cNvSpPr/>
              <p:nvPr/>
            </p:nvSpPr>
            <p:spPr>
              <a:xfrm>
                <a:off x="6380482" y="1778000"/>
                <a:ext cx="5487853" cy="1856621"/>
              </a:xfrm>
              <a:prstGeom prst="rect">
                <a:avLst/>
              </a:prstGeom>
              <a:solidFill>
                <a:schemeClr val="tx2">
                  <a:alpha val="3400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40" tIns="45720" rIns="91440" bIns="45720" rtlCol="0" anchor="t"/>
              <a:lstStyle/>
              <a:p>
                <a:pPr algn="ctr"/>
                <a:r>
                  <a:rPr lang="en-US" sz="2000" b="1"/>
                  <a:t>Parsers</a:t>
                </a:r>
                <a:endParaRPr lang="en-US"/>
              </a:p>
            </p:txBody>
          </p:sp>
          <p:sp>
            <p:nvSpPr>
              <p:cNvPr id="51" name="Rectangle 50">
                <a:extLst>
                  <a:ext uri="{FF2B5EF4-FFF2-40B4-BE49-F238E27FC236}">
                    <a16:creationId xmlns:a16="http://schemas.microsoft.com/office/drawing/2014/main" id="{C80B0682-4B19-1AE7-BBE0-0BE2C76C3200}"/>
                  </a:ext>
                </a:extLst>
              </p:cNvPr>
              <p:cNvSpPr/>
              <p:nvPr/>
            </p:nvSpPr>
            <p:spPr>
              <a:xfrm>
                <a:off x="9997840" y="2416338"/>
                <a:ext cx="1672217" cy="950703"/>
              </a:xfrm>
              <a:prstGeom prst="rect">
                <a:avLst/>
              </a:prstGeom>
              <a:solidFill>
                <a:schemeClr val="tx2">
                  <a:alpha val="3400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40" tIns="45720" rIns="91440" bIns="45720" rtlCol="0" anchor="t"/>
              <a:lstStyle/>
              <a:p>
                <a:pPr algn="ctr"/>
                <a:r>
                  <a:rPr lang="en-US">
                    <a:solidFill>
                      <a:srgbClr val="FFFFFF"/>
                    </a:solidFill>
                    <a:ea typeface="+mn-lt"/>
                    <a:cs typeface="+mn-lt"/>
                  </a:rPr>
                  <a:t>SEC EDGAR</a:t>
                </a:r>
                <a:endParaRPr lang="en-US"/>
              </a:p>
              <a:p>
                <a:pPr algn="ctr"/>
                <a:r>
                  <a:rPr lang="en-US"/>
                  <a:t>Parser</a:t>
                </a:r>
              </a:p>
              <a:p>
                <a:pPr algn="ctr"/>
                <a:endParaRPr lang="en-US"/>
              </a:p>
            </p:txBody>
          </p:sp>
          <p:sp>
            <p:nvSpPr>
              <p:cNvPr id="52" name="Rectangle 51">
                <a:extLst>
                  <a:ext uri="{FF2B5EF4-FFF2-40B4-BE49-F238E27FC236}">
                    <a16:creationId xmlns:a16="http://schemas.microsoft.com/office/drawing/2014/main" id="{406A6ECD-0932-DFDB-630F-040AEDF95537}"/>
                  </a:ext>
                </a:extLst>
              </p:cNvPr>
              <p:cNvSpPr/>
              <p:nvPr/>
            </p:nvSpPr>
            <p:spPr>
              <a:xfrm>
                <a:off x="6753686" y="2429344"/>
                <a:ext cx="1479268" cy="950703"/>
              </a:xfrm>
              <a:prstGeom prst="rect">
                <a:avLst/>
              </a:prstGeom>
              <a:solidFill>
                <a:schemeClr val="tx2">
                  <a:alpha val="3400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40" tIns="45720" rIns="91440" bIns="45720" rtlCol="0" anchor="t"/>
              <a:lstStyle/>
              <a:p>
                <a:pPr algn="ctr"/>
                <a:r>
                  <a:rPr lang="en-US" err="1"/>
                  <a:t>NewsAPI</a:t>
                </a:r>
                <a:endParaRPr lang="en-US"/>
              </a:p>
              <a:p>
                <a:pPr algn="ctr"/>
                <a:r>
                  <a:rPr lang="en-US"/>
                  <a:t>Parser</a:t>
                </a:r>
              </a:p>
              <a:p>
                <a:pPr algn="ctr"/>
                <a:endParaRPr lang="en-US"/>
              </a:p>
            </p:txBody>
          </p:sp>
        </p:grpSp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AD82955F-0209-3EE2-5245-C64576CE7624}"/>
                </a:ext>
              </a:extLst>
            </p:cNvPr>
            <p:cNvSpPr/>
            <p:nvPr/>
          </p:nvSpPr>
          <p:spPr>
            <a:xfrm>
              <a:off x="7830586" y="5160883"/>
              <a:ext cx="1240102" cy="697265"/>
            </a:xfrm>
            <a:prstGeom prst="rect">
              <a:avLst/>
            </a:prstGeom>
            <a:solidFill>
              <a:schemeClr val="tx2">
                <a:alpha val="34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t"/>
            <a:lstStyle/>
            <a:p>
              <a:pPr algn="ctr"/>
              <a:r>
                <a:rPr lang="en-US"/>
                <a:t>LinkedIn</a:t>
              </a:r>
            </a:p>
            <a:p>
              <a:pPr algn="ctr"/>
              <a:r>
                <a:rPr lang="en-US"/>
                <a:t>Parser</a:t>
              </a:r>
            </a:p>
            <a:p>
              <a:pPr algn="ctr"/>
              <a:endParaRPr lang="en-US"/>
            </a:p>
          </p:txBody>
        </p:sp>
        <p:cxnSp>
          <p:nvCxnSpPr>
            <p:cNvPr id="79" name="Straight Arrow Connector 78">
              <a:extLst>
                <a:ext uri="{FF2B5EF4-FFF2-40B4-BE49-F238E27FC236}">
                  <a16:creationId xmlns:a16="http://schemas.microsoft.com/office/drawing/2014/main" id="{A49E40B3-8DB1-19FC-1A5C-5017BC1F0544}"/>
                </a:ext>
              </a:extLst>
            </p:cNvPr>
            <p:cNvCxnSpPr/>
            <p:nvPr/>
          </p:nvCxnSpPr>
          <p:spPr>
            <a:xfrm flipH="1">
              <a:off x="3661459" y="2301313"/>
              <a:ext cx="2292974" cy="545852"/>
            </a:xfrm>
            <a:prstGeom prst="straightConnector1">
              <a:avLst/>
            </a:prstGeom>
            <a:ln>
              <a:solidFill>
                <a:schemeClr val="bg1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0" name="TextBox 79">
              <a:extLst>
                <a:ext uri="{FF2B5EF4-FFF2-40B4-BE49-F238E27FC236}">
                  <a16:creationId xmlns:a16="http://schemas.microsoft.com/office/drawing/2014/main" id="{4EDB9052-CC3C-16C8-CB0A-3220DB518EC3}"/>
                </a:ext>
              </a:extLst>
            </p:cNvPr>
            <p:cNvSpPr txBox="1"/>
            <p:nvPr/>
          </p:nvSpPr>
          <p:spPr>
            <a:xfrm>
              <a:off x="2020046" y="2443380"/>
              <a:ext cx="2225240" cy="215444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r>
                <a:rPr lang="en-US" sz="1400">
                  <a:solidFill>
                    <a:schemeClr val="bg2">
                      <a:lumMod val="90000"/>
                    </a:schemeClr>
                  </a:solidFill>
                </a:rPr>
                <a:t>Extract Data from </a:t>
              </a:r>
              <a:r>
                <a:rPr lang="en-US" sz="1400" err="1">
                  <a:solidFill>
                    <a:schemeClr val="bg2">
                      <a:lumMod val="90000"/>
                    </a:schemeClr>
                  </a:solidFill>
                </a:rPr>
                <a:t>PitchDeck</a:t>
              </a:r>
              <a:endParaRPr lang="en-US" sz="1400">
                <a:solidFill>
                  <a:schemeClr val="bg2">
                    <a:lumMod val="90000"/>
                  </a:schemeClr>
                </a:solidFill>
              </a:endParaRPr>
            </a:p>
          </p:txBody>
        </p:sp>
        <p:cxnSp>
          <p:nvCxnSpPr>
            <p:cNvPr id="81" name="Straight Arrow Connector 80">
              <a:extLst>
                <a:ext uri="{FF2B5EF4-FFF2-40B4-BE49-F238E27FC236}">
                  <a16:creationId xmlns:a16="http://schemas.microsoft.com/office/drawing/2014/main" id="{D212887E-A8F2-DA45-BAD1-8937C3DC3DA1}"/>
                </a:ext>
              </a:extLst>
            </p:cNvPr>
            <p:cNvCxnSpPr>
              <a:cxnSpLocks/>
            </p:cNvCxnSpPr>
            <p:nvPr/>
          </p:nvCxnSpPr>
          <p:spPr>
            <a:xfrm>
              <a:off x="5969377" y="2301314"/>
              <a:ext cx="2333807" cy="540871"/>
            </a:xfrm>
            <a:prstGeom prst="straightConnector1">
              <a:avLst/>
            </a:prstGeom>
            <a:ln>
              <a:solidFill>
                <a:schemeClr val="bg1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4AF6B0EA-5E9C-3DE6-F924-A6C2AA025D13}"/>
                </a:ext>
              </a:extLst>
            </p:cNvPr>
            <p:cNvSpPr txBox="1"/>
            <p:nvPr/>
          </p:nvSpPr>
          <p:spPr>
            <a:xfrm>
              <a:off x="7712635" y="2443379"/>
              <a:ext cx="3221318" cy="215444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r>
                <a:rPr lang="en-US" sz="1400">
                  <a:solidFill>
                    <a:schemeClr val="bg2">
                      <a:lumMod val="90000"/>
                    </a:schemeClr>
                  </a:solidFill>
                </a:rPr>
                <a:t>Fill the gaps in the startup information</a:t>
              </a:r>
              <a:endParaRPr lang="en-US">
                <a:solidFill>
                  <a:schemeClr val="bg2">
                    <a:lumMod val="90000"/>
                  </a:schemeClr>
                </a:solidFill>
              </a:endParaRPr>
            </a:p>
          </p:txBody>
        </p:sp>
        <p:cxnSp>
          <p:nvCxnSpPr>
            <p:cNvPr id="83" name="Straight Arrow Connector 82">
              <a:extLst>
                <a:ext uri="{FF2B5EF4-FFF2-40B4-BE49-F238E27FC236}">
                  <a16:creationId xmlns:a16="http://schemas.microsoft.com/office/drawing/2014/main" id="{4B2CA474-A073-1D37-C153-B2E6CEA8C6CC}"/>
                </a:ext>
              </a:extLst>
            </p:cNvPr>
            <p:cNvCxnSpPr/>
            <p:nvPr/>
          </p:nvCxnSpPr>
          <p:spPr>
            <a:xfrm>
              <a:off x="797860" y="1925917"/>
              <a:ext cx="3260163" cy="22909"/>
            </a:xfrm>
            <a:prstGeom prst="straightConnector1">
              <a:avLst/>
            </a:prstGeom>
            <a:ln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Straight Arrow Connector 83">
              <a:extLst>
                <a:ext uri="{FF2B5EF4-FFF2-40B4-BE49-F238E27FC236}">
                  <a16:creationId xmlns:a16="http://schemas.microsoft.com/office/drawing/2014/main" id="{5EDE9878-C2D0-18B0-84C1-5C4F57DD76E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710644" y="1988669"/>
              <a:ext cx="4121770" cy="1992"/>
            </a:xfrm>
            <a:prstGeom prst="straightConnector1">
              <a:avLst/>
            </a:prstGeom>
            <a:ln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53F3F9B0-EA3D-E925-B86C-961C65AAA06B}"/>
                </a:ext>
              </a:extLst>
            </p:cNvPr>
            <p:cNvSpPr txBox="1"/>
            <p:nvPr/>
          </p:nvSpPr>
          <p:spPr>
            <a:xfrm>
              <a:off x="824751" y="1686360"/>
              <a:ext cx="2225240" cy="215444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r>
                <a:rPr lang="en-US" sz="1400" b="1">
                  <a:solidFill>
                    <a:schemeClr val="bg1"/>
                  </a:solidFill>
                </a:rPr>
                <a:t>Takes </a:t>
              </a:r>
              <a:r>
                <a:rPr lang="en-US" sz="1400" b="1" err="1">
                  <a:solidFill>
                    <a:schemeClr val="bg1"/>
                  </a:solidFill>
                </a:rPr>
                <a:t>PitchDeck</a:t>
              </a:r>
              <a:r>
                <a:rPr lang="en-US" sz="1400" b="1">
                  <a:solidFill>
                    <a:schemeClr val="bg1"/>
                  </a:solidFill>
                </a:rPr>
                <a:t> PDF</a:t>
              </a:r>
            </a:p>
          </p:txBody>
        </p:sp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035E753F-8B12-8A44-1DCE-F402CF6530E8}"/>
                </a:ext>
              </a:extLst>
            </p:cNvPr>
            <p:cNvSpPr txBox="1"/>
            <p:nvPr/>
          </p:nvSpPr>
          <p:spPr>
            <a:xfrm>
              <a:off x="10222750" y="1751105"/>
              <a:ext cx="1617633" cy="215444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r>
                <a:rPr lang="en-US" sz="1400" b="1">
                  <a:solidFill>
                    <a:schemeClr val="bg1"/>
                  </a:solidFill>
                </a:rPr>
                <a:t>Gives startup score</a:t>
              </a:r>
            </a:p>
          </p:txBody>
        </p:sp>
        <p:cxnSp>
          <p:nvCxnSpPr>
            <p:cNvPr id="88" name="Straight Arrow Connector 87">
              <a:extLst>
                <a:ext uri="{FF2B5EF4-FFF2-40B4-BE49-F238E27FC236}">
                  <a16:creationId xmlns:a16="http://schemas.microsoft.com/office/drawing/2014/main" id="{59394CE9-6931-0C10-FFF6-41D2B1A49127}"/>
                </a:ext>
              </a:extLst>
            </p:cNvPr>
            <p:cNvCxnSpPr/>
            <p:nvPr/>
          </p:nvCxnSpPr>
          <p:spPr>
            <a:xfrm flipV="1">
              <a:off x="786341" y="4507984"/>
              <a:ext cx="11065633" cy="1200"/>
            </a:xfrm>
            <a:prstGeom prst="straightConnector1">
              <a:avLst/>
            </a:prstGeom>
            <a:ln w="28575"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B43564B2-C5DB-744C-8A92-DB88715619A5}"/>
                </a:ext>
              </a:extLst>
            </p:cNvPr>
            <p:cNvSpPr txBox="1"/>
            <p:nvPr/>
          </p:nvSpPr>
          <p:spPr>
            <a:xfrm rot="16200000">
              <a:off x="194734" y="3033556"/>
              <a:ext cx="1493122" cy="307777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r>
                <a:rPr lang="en-US" sz="2000" b="1">
                  <a:solidFill>
                    <a:schemeClr val="bg1"/>
                  </a:solidFill>
                </a:rPr>
                <a:t>Agent Layer</a:t>
              </a:r>
              <a:endParaRPr lang="en-US"/>
            </a:p>
          </p:txBody>
        </p:sp>
        <p:sp>
          <p:nvSpPr>
            <p:cNvPr id="90" name="TextBox 89">
              <a:extLst>
                <a:ext uri="{FF2B5EF4-FFF2-40B4-BE49-F238E27FC236}">
                  <a16:creationId xmlns:a16="http://schemas.microsoft.com/office/drawing/2014/main" id="{09BF8E05-B90A-63CD-69FE-C099E8643F80}"/>
                </a:ext>
              </a:extLst>
            </p:cNvPr>
            <p:cNvSpPr txBox="1"/>
            <p:nvPr/>
          </p:nvSpPr>
          <p:spPr>
            <a:xfrm rot="16200000">
              <a:off x="261969" y="5262281"/>
              <a:ext cx="1368613" cy="307777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r>
                <a:rPr lang="en-US" sz="2000" b="1">
                  <a:solidFill>
                    <a:schemeClr val="bg1"/>
                  </a:solidFill>
                </a:rPr>
                <a:t>Core Layer</a:t>
              </a:r>
            </a:p>
          </p:txBody>
        </p:sp>
        <p:cxnSp>
          <p:nvCxnSpPr>
            <p:cNvPr id="91" name="Straight Arrow Connector 90">
              <a:extLst>
                <a:ext uri="{FF2B5EF4-FFF2-40B4-BE49-F238E27FC236}">
                  <a16:creationId xmlns:a16="http://schemas.microsoft.com/office/drawing/2014/main" id="{6185456C-22FB-E770-773C-D86CCDFECF9E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3651498" y="4336301"/>
              <a:ext cx="1995" cy="370541"/>
            </a:xfrm>
            <a:prstGeom prst="straightConnector1">
              <a:avLst/>
            </a:prstGeom>
            <a:ln w="28575">
              <a:solidFill>
                <a:schemeClr val="bg1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Arrow Connector 91">
              <a:extLst>
                <a:ext uri="{FF2B5EF4-FFF2-40B4-BE49-F238E27FC236}">
                  <a16:creationId xmlns:a16="http://schemas.microsoft.com/office/drawing/2014/main" id="{8D4CFF41-E6F0-3042-7283-9D9ACCEC54CB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8303184" y="4326340"/>
              <a:ext cx="1995" cy="370541"/>
            </a:xfrm>
            <a:prstGeom prst="straightConnector1">
              <a:avLst/>
            </a:prstGeom>
            <a:ln w="28575">
              <a:solidFill>
                <a:schemeClr val="bg1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13095971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3FE34926-6F90-78C8-0300-35FA43C6BF6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33">
            <a:extLst>
              <a:ext uri="{FF2B5EF4-FFF2-40B4-BE49-F238E27FC236}">
                <a16:creationId xmlns:a16="http://schemas.microsoft.com/office/drawing/2014/main" id="{71FF4EDE-7944-67B7-E092-D42497048B2F}"/>
              </a:ext>
            </a:extLst>
          </p:cNvPr>
          <p:cNvSpPr txBox="1">
            <a:spLocks/>
          </p:cNvSpPr>
          <p:nvPr/>
        </p:nvSpPr>
        <p:spPr>
          <a:xfrm>
            <a:off x="794508" y="989857"/>
            <a:ext cx="10686292" cy="4694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4400" b="1" kern="1200" cap="all" spc="400" baseline="0">
                <a:ln w="19050">
                  <a:solidFill>
                    <a:schemeClr val="accent2"/>
                  </a:solidFill>
                </a:ln>
                <a:noFill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>
              <a:lnSpc>
                <a:spcPct val="100000"/>
              </a:lnSpc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3" name="Titel 28">
            <a:extLst>
              <a:ext uri="{FF2B5EF4-FFF2-40B4-BE49-F238E27FC236}">
                <a16:creationId xmlns:a16="http://schemas.microsoft.com/office/drawing/2014/main" id="{3EDB2125-ED7F-FE62-09DF-D61E4C8D5CD8}"/>
              </a:ext>
            </a:extLst>
          </p:cNvPr>
          <p:cNvSpPr txBox="1">
            <a:spLocks/>
          </p:cNvSpPr>
          <p:nvPr/>
        </p:nvSpPr>
        <p:spPr>
          <a:xfrm>
            <a:off x="794508" y="519712"/>
            <a:ext cx="3106932" cy="36576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 u="none" strike="noStrike" cap="all" spc="400" normalizeH="0" baseline="0">
                <a:ln w="19050">
                  <a:solidFill>
                    <a:schemeClr val="accent5"/>
                  </a:solidFill>
                </a:ln>
                <a:noFill/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sz="2000">
                <a:ln w="19050">
                  <a:solidFill>
                    <a:schemeClr val="accent5">
                      <a:alpha val="70000"/>
                    </a:schemeClr>
                  </a:solidFill>
                </a:ln>
              </a:rPr>
              <a:t>Solution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D9CA6DD-9FC6-FAF2-76DF-6934163030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rtl="0"/>
            <a:r>
              <a:rPr lang="en-US" noProof="0"/>
              <a:t>Q-Hack 25</a:t>
            </a:r>
            <a:endParaRPr lang="de-DE" noProof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F8A5A7F0-50B1-E14C-D128-162894F630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rtl="0"/>
            <a:r>
              <a:rPr lang="de-DE" noProof="0"/>
              <a:t>disQover Pitch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57BD85C6-85A6-25D3-7AB0-1E9EFCF3A6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rtl="0"/>
            <a:fld id="{A402E4C0-AD5E-4E8C-9F21-7CCE474BDCEB}" type="slidenum">
              <a:rPr lang="de-DE" noProof="0" smtClean="0"/>
              <a:t>21</a:t>
            </a:fld>
            <a:endParaRPr lang="de-DE" noProof="0"/>
          </a:p>
        </p:txBody>
      </p:sp>
      <p:cxnSp>
        <p:nvCxnSpPr>
          <p:cNvPr id="5" name="Gerader Verbinder 39">
            <a:extLst>
              <a:ext uri="{FF2B5EF4-FFF2-40B4-BE49-F238E27FC236}">
                <a16:creationId xmlns:a16="http://schemas.microsoft.com/office/drawing/2014/main" id="{39B91920-3594-616F-07EC-E5645EE8F3DE}"/>
              </a:ext>
            </a:extLst>
          </p:cNvPr>
          <p:cNvCxnSpPr/>
          <p:nvPr/>
        </p:nvCxnSpPr>
        <p:spPr>
          <a:xfrm>
            <a:off x="838200" y="1782033"/>
            <a:ext cx="105156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40">
            <a:extLst>
              <a:ext uri="{FF2B5EF4-FFF2-40B4-BE49-F238E27FC236}">
                <a16:creationId xmlns:a16="http://schemas.microsoft.com/office/drawing/2014/main" id="{D41795A7-A43C-35C6-52A7-97746A096797}"/>
              </a:ext>
            </a:extLst>
          </p:cNvPr>
          <p:cNvCxnSpPr/>
          <p:nvPr/>
        </p:nvCxnSpPr>
        <p:spPr>
          <a:xfrm>
            <a:off x="838200" y="4824955"/>
            <a:ext cx="105156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9402E9AA-B84D-D9E6-89BF-9A66DF5B6287}"/>
              </a:ext>
            </a:extLst>
          </p:cNvPr>
          <p:cNvSpPr txBox="1"/>
          <p:nvPr/>
        </p:nvSpPr>
        <p:spPr>
          <a:xfrm>
            <a:off x="546404" y="2025923"/>
            <a:ext cx="11099192" cy="261610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6500" b="1">
                <a:solidFill>
                  <a:schemeClr val="bg1"/>
                </a:solidFill>
              </a:rPr>
              <a:t>LIVE DEMO</a:t>
            </a:r>
          </a:p>
        </p:txBody>
      </p:sp>
      <p:sp>
        <p:nvSpPr>
          <p:cNvPr id="17" name="Arrow: Striped Right 16">
            <a:extLst>
              <a:ext uri="{FF2B5EF4-FFF2-40B4-BE49-F238E27FC236}">
                <a16:creationId xmlns:a16="http://schemas.microsoft.com/office/drawing/2014/main" id="{ACF5A195-986B-BFC0-7CF2-4B014978B007}"/>
              </a:ext>
            </a:extLst>
          </p:cNvPr>
          <p:cNvSpPr/>
          <p:nvPr/>
        </p:nvSpPr>
        <p:spPr>
          <a:xfrm>
            <a:off x="9723120" y="5208600"/>
            <a:ext cx="1630680" cy="778510"/>
          </a:xfrm>
          <a:prstGeom prst="stripedRightArrow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2000" b="1"/>
              <a:t>LINK</a:t>
            </a:r>
          </a:p>
        </p:txBody>
      </p:sp>
    </p:spTree>
    <p:extLst>
      <p:ext uri="{BB962C8B-B14F-4D97-AF65-F5344CB8AC3E}">
        <p14:creationId xmlns:p14="http://schemas.microsoft.com/office/powerpoint/2010/main" val="372975169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3853B2E-4DD7-8708-E01F-3B58D2EF45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rtl="0"/>
            <a:r>
              <a:rPr lang="en-US" noProof="0"/>
              <a:t>Q-Hack 25</a:t>
            </a:r>
            <a:endParaRPr lang="de-DE" noProof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0213BCB-B901-6B43-7E65-E77CA5AE7A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rtl="0"/>
            <a:r>
              <a:rPr lang="de-DE" noProof="0"/>
              <a:t>disQover Pitch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C3B1A50-6E57-22CE-EAF8-65DDFD60A1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rtl="0"/>
            <a:fld id="{A402E4C0-AD5E-4E8C-9F21-7CCE474BDCEB}" type="slidenum">
              <a:rPr lang="de-DE" noProof="0" smtClean="0"/>
              <a:pPr rtl="0"/>
              <a:t>22</a:t>
            </a:fld>
            <a:endParaRPr lang="de-DE" noProof="0"/>
          </a:p>
        </p:txBody>
      </p:sp>
      <p:sp>
        <p:nvSpPr>
          <p:cNvPr id="6" name="Titel 33">
            <a:extLst>
              <a:ext uri="{FF2B5EF4-FFF2-40B4-BE49-F238E27FC236}">
                <a16:creationId xmlns:a16="http://schemas.microsoft.com/office/drawing/2014/main" id="{9BF45AE6-2602-CF6C-0849-7423B32E6278}"/>
              </a:ext>
            </a:extLst>
          </p:cNvPr>
          <p:cNvSpPr txBox="1">
            <a:spLocks/>
          </p:cNvSpPr>
          <p:nvPr/>
        </p:nvSpPr>
        <p:spPr>
          <a:xfrm>
            <a:off x="794508" y="989857"/>
            <a:ext cx="10686292" cy="4694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4400" b="1" kern="1200" cap="all" spc="400" baseline="0">
                <a:ln w="19050">
                  <a:solidFill>
                    <a:schemeClr val="accent2"/>
                  </a:solidFill>
                </a:ln>
                <a:noFill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2500">
                <a:ln w="19050">
                  <a:noFill/>
                </a:ln>
                <a:solidFill>
                  <a:schemeClr val="bg1"/>
                </a:solidFill>
                <a:latin typeface="Arial"/>
                <a:cs typeface="Arial"/>
              </a:rPr>
              <a:t>News agent – raw news</a:t>
            </a:r>
            <a:endParaRPr lang="en-US">
              <a:solidFill>
                <a:schemeClr val="bg1"/>
              </a:solidFill>
            </a:endParaRPr>
          </a:p>
        </p:txBody>
      </p:sp>
      <p:sp>
        <p:nvSpPr>
          <p:cNvPr id="7" name="Titel 28">
            <a:extLst>
              <a:ext uri="{FF2B5EF4-FFF2-40B4-BE49-F238E27FC236}">
                <a16:creationId xmlns:a16="http://schemas.microsoft.com/office/drawing/2014/main" id="{45393C10-94ED-0992-2C1B-0AAC4EDF2C95}"/>
              </a:ext>
            </a:extLst>
          </p:cNvPr>
          <p:cNvSpPr txBox="1">
            <a:spLocks/>
          </p:cNvSpPr>
          <p:nvPr/>
        </p:nvSpPr>
        <p:spPr>
          <a:xfrm>
            <a:off x="794508" y="519712"/>
            <a:ext cx="3106932" cy="36576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 u="none" strike="noStrike" cap="all" spc="400" normalizeH="0" baseline="0">
                <a:ln w="19050">
                  <a:solidFill>
                    <a:schemeClr val="accent5"/>
                  </a:solidFill>
                </a:ln>
                <a:noFill/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sz="2000">
                <a:ln w="19050">
                  <a:solidFill>
                    <a:schemeClr val="accent5">
                      <a:alpha val="70000"/>
                    </a:schemeClr>
                  </a:solidFill>
                </a:ln>
              </a:rPr>
              <a:t>Tech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10DF1D4-EA8C-597C-A910-90F0AE391AE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5019" y="1459149"/>
            <a:ext cx="7807961" cy="48962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381166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9670670-F708-0AC4-734E-83B30B0E03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7907A68-AF4F-EB67-FC25-5994FDC141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rtl="0"/>
            <a:r>
              <a:rPr lang="en-US" noProof="0"/>
              <a:t>Q-Hack 25</a:t>
            </a:r>
            <a:endParaRPr lang="de-DE" noProof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306CD3B-B37E-5BCC-0519-CC45EA9FFB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rtl="0"/>
            <a:r>
              <a:rPr lang="de-DE" noProof="0"/>
              <a:t>disQover Pitch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F3BF61E-DB22-2341-28A6-5749F141DD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rtl="0"/>
            <a:fld id="{A402E4C0-AD5E-4E8C-9F21-7CCE474BDCEB}" type="slidenum">
              <a:rPr lang="de-DE" noProof="0" smtClean="0"/>
              <a:pPr rtl="0"/>
              <a:t>23</a:t>
            </a:fld>
            <a:endParaRPr lang="de-DE" noProof="0"/>
          </a:p>
        </p:txBody>
      </p:sp>
      <p:sp>
        <p:nvSpPr>
          <p:cNvPr id="6" name="Titel 33">
            <a:extLst>
              <a:ext uri="{FF2B5EF4-FFF2-40B4-BE49-F238E27FC236}">
                <a16:creationId xmlns:a16="http://schemas.microsoft.com/office/drawing/2014/main" id="{BCCAFD44-EC8D-2C1A-82DA-99FCEF13046E}"/>
              </a:ext>
            </a:extLst>
          </p:cNvPr>
          <p:cNvSpPr txBox="1">
            <a:spLocks/>
          </p:cNvSpPr>
          <p:nvPr/>
        </p:nvSpPr>
        <p:spPr>
          <a:xfrm>
            <a:off x="794508" y="989857"/>
            <a:ext cx="10686292" cy="4694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4400" b="1" kern="1200" cap="all" spc="400" baseline="0">
                <a:ln w="19050">
                  <a:solidFill>
                    <a:schemeClr val="accent2"/>
                  </a:solidFill>
                </a:ln>
                <a:noFill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2500">
                <a:ln w="19050">
                  <a:noFill/>
                </a:ln>
                <a:solidFill>
                  <a:schemeClr val="bg1"/>
                </a:solidFill>
                <a:latin typeface="Arial"/>
                <a:cs typeface="Arial"/>
              </a:rPr>
              <a:t>News agent – pre-processed news</a:t>
            </a:r>
            <a:endParaRPr lang="en-US">
              <a:solidFill>
                <a:schemeClr val="bg1"/>
              </a:solidFill>
            </a:endParaRPr>
          </a:p>
        </p:txBody>
      </p:sp>
      <p:sp>
        <p:nvSpPr>
          <p:cNvPr id="7" name="Titel 28">
            <a:extLst>
              <a:ext uri="{FF2B5EF4-FFF2-40B4-BE49-F238E27FC236}">
                <a16:creationId xmlns:a16="http://schemas.microsoft.com/office/drawing/2014/main" id="{CBD48643-B444-6DA5-F917-DF83223B920B}"/>
              </a:ext>
            </a:extLst>
          </p:cNvPr>
          <p:cNvSpPr txBox="1">
            <a:spLocks/>
          </p:cNvSpPr>
          <p:nvPr/>
        </p:nvSpPr>
        <p:spPr>
          <a:xfrm>
            <a:off x="794508" y="519712"/>
            <a:ext cx="3106932" cy="36576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 u="none" strike="noStrike" cap="all" spc="400" normalizeH="0" baseline="0">
                <a:ln w="19050">
                  <a:solidFill>
                    <a:schemeClr val="accent5"/>
                  </a:solidFill>
                </a:ln>
                <a:noFill/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sz="2000">
                <a:ln w="19050">
                  <a:solidFill>
                    <a:schemeClr val="accent5">
                      <a:alpha val="70000"/>
                    </a:schemeClr>
                  </a:solidFill>
                </a:ln>
              </a:rPr>
              <a:t>Tech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70363341-C4D4-8434-551E-8A79E028C75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3738" y="1458195"/>
            <a:ext cx="7834789" cy="49719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945040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7FBA93F-26D0-004B-B461-8039863D50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B683781-6AF5-0E62-9D34-E516469C18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rtl="0"/>
            <a:r>
              <a:rPr lang="en-US" noProof="0"/>
              <a:t>Q-Hack 25</a:t>
            </a:r>
            <a:endParaRPr lang="de-DE" noProof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2A50096-3F3A-157F-3C18-BC518D7B06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rtl="0"/>
            <a:r>
              <a:rPr lang="de-DE" noProof="0"/>
              <a:t>disQover Pitch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6910466-CAD0-4329-AB85-16861E4418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rtl="0"/>
            <a:fld id="{A402E4C0-AD5E-4E8C-9F21-7CCE474BDCEB}" type="slidenum">
              <a:rPr lang="de-DE" noProof="0" smtClean="0"/>
              <a:pPr rtl="0"/>
              <a:t>24</a:t>
            </a:fld>
            <a:endParaRPr lang="de-DE" noProof="0"/>
          </a:p>
        </p:txBody>
      </p:sp>
      <p:sp>
        <p:nvSpPr>
          <p:cNvPr id="6" name="Titel 33">
            <a:extLst>
              <a:ext uri="{FF2B5EF4-FFF2-40B4-BE49-F238E27FC236}">
                <a16:creationId xmlns:a16="http://schemas.microsoft.com/office/drawing/2014/main" id="{8473BF0D-1E55-87BB-B497-AA72ED49A936}"/>
              </a:ext>
            </a:extLst>
          </p:cNvPr>
          <p:cNvSpPr txBox="1">
            <a:spLocks/>
          </p:cNvSpPr>
          <p:nvPr/>
        </p:nvSpPr>
        <p:spPr>
          <a:xfrm>
            <a:off x="794508" y="989857"/>
            <a:ext cx="10686292" cy="4694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4400" b="1" kern="1200" cap="all" spc="400" baseline="0">
                <a:ln w="19050">
                  <a:solidFill>
                    <a:schemeClr val="accent2"/>
                  </a:solidFill>
                </a:ln>
                <a:noFill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2500">
                <a:ln w="19050">
                  <a:noFill/>
                </a:ln>
                <a:solidFill>
                  <a:schemeClr val="bg1"/>
                </a:solidFill>
                <a:latin typeface="Arial"/>
                <a:cs typeface="Arial"/>
              </a:rPr>
              <a:t>News agent – final output</a:t>
            </a:r>
            <a:endParaRPr lang="en-US">
              <a:solidFill>
                <a:schemeClr val="bg1"/>
              </a:solidFill>
            </a:endParaRPr>
          </a:p>
        </p:txBody>
      </p:sp>
      <p:sp>
        <p:nvSpPr>
          <p:cNvPr id="7" name="Titel 28">
            <a:extLst>
              <a:ext uri="{FF2B5EF4-FFF2-40B4-BE49-F238E27FC236}">
                <a16:creationId xmlns:a16="http://schemas.microsoft.com/office/drawing/2014/main" id="{8E6559AD-51B2-4864-8D32-5A0584F7948E}"/>
              </a:ext>
            </a:extLst>
          </p:cNvPr>
          <p:cNvSpPr txBox="1">
            <a:spLocks/>
          </p:cNvSpPr>
          <p:nvPr/>
        </p:nvSpPr>
        <p:spPr>
          <a:xfrm>
            <a:off x="794508" y="519712"/>
            <a:ext cx="3106932" cy="36576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 u="none" strike="noStrike" cap="all" spc="400" normalizeH="0" baseline="0">
                <a:ln w="19050">
                  <a:solidFill>
                    <a:schemeClr val="accent5"/>
                  </a:solidFill>
                </a:ln>
                <a:noFill/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sz="2000">
                <a:ln w="19050">
                  <a:solidFill>
                    <a:schemeClr val="accent5">
                      <a:alpha val="70000"/>
                    </a:schemeClr>
                  </a:solidFill>
                </a:ln>
              </a:rPr>
              <a:t>Tech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59EB101-E100-F2CD-2EBA-439BEFA8DA4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6863" y="2552450"/>
            <a:ext cx="10553452" cy="17530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070663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5EE4144-611C-4708-253B-C9BFDD7216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rtl="0"/>
            <a:r>
              <a:rPr lang="en-US" noProof="0"/>
              <a:t>Q-Hack 25</a:t>
            </a:r>
            <a:endParaRPr lang="de-DE" noProof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E97F2E4-E760-6770-A7F9-D5C0D52E58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rtl="0"/>
            <a:fld id="{A402E4C0-AD5E-4E8C-9F21-7CCE474BDCEB}" type="slidenum">
              <a:rPr lang="de-DE" noProof="0" smtClean="0"/>
              <a:t>3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377166387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5922B7B-D66F-717A-DA36-6C1B4533776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872A04E0-628F-AE5F-D99F-1E9B5166801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146266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86" imgH="486" progId="TCLayout.ActiveDocument.1">
                  <p:embed/>
                </p:oleObj>
              </mc:Choice>
              <mc:Fallback>
                <p:oleObj name="think-cell Slide" r:id="rId4" imgW="486" imgH="48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72A04E0-628F-AE5F-D99F-1E9B516680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Titel 33">
            <a:extLst>
              <a:ext uri="{FF2B5EF4-FFF2-40B4-BE49-F238E27FC236}">
                <a16:creationId xmlns:a16="http://schemas.microsoft.com/office/drawing/2014/main" id="{5AF886ED-2C23-220B-62D6-565EC7860E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4508" y="989857"/>
            <a:ext cx="10787892" cy="469490"/>
          </a:xfrm>
        </p:spPr>
        <p:txBody>
          <a:bodyPr vert="horz" rtlCol="0">
            <a:normAutofit fontScale="90000"/>
          </a:bodyPr>
          <a:lstStyle/>
          <a:p>
            <a:r>
              <a:rPr lang="en-US" b="1">
                <a:ln w="19050">
                  <a:noFill/>
                </a:ln>
                <a:solidFill>
                  <a:schemeClr val="bg1"/>
                </a:solidFill>
                <a:latin typeface="Arial"/>
                <a:cs typeface="Arial"/>
              </a:rPr>
              <a:t>VC Investing feels too much like gambling and too little like informed Deciding</a:t>
            </a:r>
            <a:endParaRPr lang="en-US">
              <a:ln w="19050">
                <a:noFill/>
              </a:ln>
              <a:solidFill>
                <a:schemeClr val="bg1"/>
              </a:solidFill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F566D16-F324-5E6C-7DC4-0782342E1A9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</p:spPr>
        <p:txBody>
          <a:bodyPr rtlCol="0"/>
          <a:lstStyle/>
          <a:p>
            <a:pPr rtl="0"/>
            <a:r>
              <a:rPr lang="en-US"/>
              <a:t>Q-Hack 25</a:t>
            </a:r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B82BD60-16B6-98CF-642C-5207A84E92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 rtlCol="0"/>
          <a:lstStyle/>
          <a:p>
            <a:pPr rtl="0"/>
            <a:r>
              <a:rPr lang="de-DE"/>
              <a:t>disQover Pitch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DD41893-DAC9-A5B0-652D-1195A30757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 rtlCol="0"/>
          <a:lstStyle/>
          <a:p>
            <a:pPr rtl="0"/>
            <a:fld id="{A402E4C0-AD5E-4E8C-9F21-7CCE474BDCEB}" type="slidenum">
              <a:rPr lang="de-DE" smtClean="0"/>
              <a:pPr rtl="0"/>
              <a:t>4</a:t>
            </a:fld>
            <a:endParaRPr lang="de-DE"/>
          </a:p>
        </p:txBody>
      </p:sp>
      <p:sp>
        <p:nvSpPr>
          <p:cNvPr id="2" name="Titel 28">
            <a:extLst>
              <a:ext uri="{FF2B5EF4-FFF2-40B4-BE49-F238E27FC236}">
                <a16:creationId xmlns:a16="http://schemas.microsoft.com/office/drawing/2014/main" id="{B07FFD6C-CC2A-D202-D11B-5D6B2D3A1CED}"/>
              </a:ext>
            </a:extLst>
          </p:cNvPr>
          <p:cNvSpPr txBox="1">
            <a:spLocks/>
          </p:cNvSpPr>
          <p:nvPr/>
        </p:nvSpPr>
        <p:spPr>
          <a:xfrm>
            <a:off x="794508" y="519712"/>
            <a:ext cx="3106932" cy="36576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 u="none" strike="noStrike" cap="all" spc="400" normalizeH="0" baseline="0">
                <a:ln w="19050">
                  <a:solidFill>
                    <a:schemeClr val="accent5"/>
                  </a:solidFill>
                </a:ln>
                <a:noFill/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sz="2000" err="1">
                <a:ln w="19050">
                  <a:solidFill>
                    <a:schemeClr val="accent5">
                      <a:alpha val="70000"/>
                    </a:schemeClr>
                  </a:solidFill>
                </a:ln>
              </a:rPr>
              <a:t>PRoblem</a:t>
            </a:r>
            <a:endParaRPr lang="de-DE" sz="2000">
              <a:ln w="19050">
                <a:solidFill>
                  <a:schemeClr val="accent5">
                    <a:alpha val="70000"/>
                  </a:schemeClr>
                </a:solidFill>
              </a:ln>
            </a:endParaRPr>
          </a:p>
        </p:txBody>
      </p:sp>
      <p:pic>
        <p:nvPicPr>
          <p:cNvPr id="31" name="Grafik 30" descr="Abakus Silhouette">
            <a:extLst>
              <a:ext uri="{FF2B5EF4-FFF2-40B4-BE49-F238E27FC236}">
                <a16:creationId xmlns:a16="http://schemas.microsoft.com/office/drawing/2014/main" id="{A70302AE-748B-C911-136C-756387C25DC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2311743" y="4879090"/>
            <a:ext cx="720000" cy="720000"/>
          </a:xfrm>
          <a:prstGeom prst="rect">
            <a:avLst/>
          </a:prstGeom>
        </p:spPr>
      </p:pic>
      <p:pic>
        <p:nvPicPr>
          <p:cNvPr id="33" name="Grafik 32" descr="Bezeichnung Silhouette">
            <a:extLst>
              <a:ext uri="{FF2B5EF4-FFF2-40B4-BE49-F238E27FC236}">
                <a16:creationId xmlns:a16="http://schemas.microsoft.com/office/drawing/2014/main" id="{BF950353-5D1A-16DE-D388-9316B2C99D0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2311743" y="3883131"/>
            <a:ext cx="720000" cy="720000"/>
          </a:xfrm>
          <a:prstGeom prst="rect">
            <a:avLst/>
          </a:prstGeom>
        </p:spPr>
      </p:pic>
      <p:pic>
        <p:nvPicPr>
          <p:cNvPr id="9" name="Graphic 8" descr="Spinning Plates outline">
            <a:extLst>
              <a:ext uri="{FF2B5EF4-FFF2-40B4-BE49-F238E27FC236}">
                <a16:creationId xmlns:a16="http://schemas.microsoft.com/office/drawing/2014/main" id="{0827AC55-1986-947D-CE70-B0E21C690B2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-1124748" y="2261219"/>
            <a:ext cx="648000" cy="648000"/>
          </a:xfrm>
          <a:prstGeom prst="rect">
            <a:avLst/>
          </a:prstGeom>
        </p:spPr>
      </p:pic>
      <p:pic>
        <p:nvPicPr>
          <p:cNvPr id="13" name="Graphic 12" descr="Research outline">
            <a:extLst>
              <a:ext uri="{FF2B5EF4-FFF2-40B4-BE49-F238E27FC236}">
                <a16:creationId xmlns:a16="http://schemas.microsoft.com/office/drawing/2014/main" id="{E388EDFE-49A2-899B-637E-593759DF7FD2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-1686191" y="2742538"/>
            <a:ext cx="648000" cy="648000"/>
          </a:xfrm>
          <a:prstGeom prst="rect">
            <a:avLst/>
          </a:prstGeom>
        </p:spPr>
      </p:pic>
      <p:pic>
        <p:nvPicPr>
          <p:cNvPr id="15" name="Graphic 14" descr="Bar chart outline">
            <a:extLst>
              <a:ext uri="{FF2B5EF4-FFF2-40B4-BE49-F238E27FC236}">
                <a16:creationId xmlns:a16="http://schemas.microsoft.com/office/drawing/2014/main" id="{DCB056FA-7502-478E-590C-675FD17675AC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-948330" y="3532849"/>
            <a:ext cx="648000" cy="648000"/>
          </a:xfrm>
          <a:prstGeom prst="rect">
            <a:avLst/>
          </a:prstGeom>
        </p:spPr>
      </p:pic>
      <p:pic>
        <p:nvPicPr>
          <p:cNvPr id="18" name="Graphic 17" descr="Radar Chart outline">
            <a:extLst>
              <a:ext uri="{FF2B5EF4-FFF2-40B4-BE49-F238E27FC236}">
                <a16:creationId xmlns:a16="http://schemas.microsoft.com/office/drawing/2014/main" id="{F95E8373-C239-5740-BA4E-5D39313C6608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-1592147" y="3180634"/>
            <a:ext cx="648000" cy="648000"/>
          </a:xfrm>
          <a:prstGeom prst="rect">
            <a:avLst/>
          </a:prstGeom>
        </p:spPr>
      </p:pic>
      <p:pic>
        <p:nvPicPr>
          <p:cNvPr id="20" name="Graphic 19" descr="Weights Uneven outline">
            <a:extLst>
              <a:ext uri="{FF2B5EF4-FFF2-40B4-BE49-F238E27FC236}">
                <a16:creationId xmlns:a16="http://schemas.microsoft.com/office/drawing/2014/main" id="{B8F96719-1E56-47B6-54E3-773B62FB8CDE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-702901" y="2845117"/>
            <a:ext cx="648000" cy="648000"/>
          </a:xfrm>
          <a:prstGeom prst="rect">
            <a:avLst/>
          </a:prstGeom>
        </p:spPr>
      </p:pic>
      <p:grpSp>
        <p:nvGrpSpPr>
          <p:cNvPr id="63" name="Group 62">
            <a:extLst>
              <a:ext uri="{FF2B5EF4-FFF2-40B4-BE49-F238E27FC236}">
                <a16:creationId xmlns:a16="http://schemas.microsoft.com/office/drawing/2014/main" id="{26FCA8A9-F1D8-9C56-0B72-2D25B1D4F2F9}"/>
              </a:ext>
            </a:extLst>
          </p:cNvPr>
          <p:cNvGrpSpPr/>
          <p:nvPr/>
        </p:nvGrpSpPr>
        <p:grpSpPr>
          <a:xfrm>
            <a:off x="891584" y="2213492"/>
            <a:ext cx="10921974" cy="3901314"/>
            <a:chOff x="891584" y="2213492"/>
            <a:chExt cx="10921974" cy="3901314"/>
          </a:xfrm>
        </p:grpSpPr>
        <p:pic>
          <p:nvPicPr>
            <p:cNvPr id="4102" name="Picture 6">
              <a:extLst>
                <a:ext uri="{FF2B5EF4-FFF2-40B4-BE49-F238E27FC236}">
                  <a16:creationId xmlns:a16="http://schemas.microsoft.com/office/drawing/2014/main" id="{7310C8F5-8377-6D28-8F42-71FD9388D21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70370">
              <a:off x="6980544" y="2213492"/>
              <a:ext cx="3911600" cy="2200275"/>
            </a:xfrm>
            <a:prstGeom prst="rect">
              <a:avLst/>
            </a:prstGeom>
            <a:noFill/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104" name="Picture 8">
              <a:extLst>
                <a:ext uri="{FF2B5EF4-FFF2-40B4-BE49-F238E27FC236}">
                  <a16:creationId xmlns:a16="http://schemas.microsoft.com/office/drawing/2014/main" id="{11523D7B-E2C9-FDAD-C80C-69130C430B8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21255220">
              <a:off x="5333581" y="3850017"/>
              <a:ext cx="3594530" cy="2024063"/>
            </a:xfrm>
            <a:prstGeom prst="rect">
              <a:avLst/>
            </a:prstGeom>
            <a:noFill/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4" name="Grafik 23">
              <a:extLst>
                <a:ext uri="{FF2B5EF4-FFF2-40B4-BE49-F238E27FC236}">
                  <a16:creationId xmlns:a16="http://schemas.microsoft.com/office/drawing/2014/main" id="{17051503-8283-7A94-35F6-B52031AAA02D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6418996" y="3050086"/>
              <a:ext cx="3167707" cy="1781835"/>
            </a:xfrm>
            <a:prstGeom prst="rect">
              <a:avLst/>
            </a:prstGeo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22" name="Grafik 21">
              <a:extLst>
                <a:ext uri="{FF2B5EF4-FFF2-40B4-BE49-F238E27FC236}">
                  <a16:creationId xmlns:a16="http://schemas.microsoft.com/office/drawing/2014/main" id="{1F829493-387F-E588-2F33-0CBC9C46F773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 rot="184860">
              <a:off x="7864672" y="3916696"/>
              <a:ext cx="3948886" cy="2198110"/>
            </a:xfrm>
            <a:prstGeom prst="rect">
              <a:avLst/>
            </a:prstGeo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</p:pic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B046214C-6960-F85A-29B7-FF4B2DD6C4A0}"/>
                </a:ext>
              </a:extLst>
            </p:cNvPr>
            <p:cNvGrpSpPr/>
            <p:nvPr/>
          </p:nvGrpSpPr>
          <p:grpSpPr>
            <a:xfrm>
              <a:off x="891584" y="2217828"/>
              <a:ext cx="4049700" cy="3342040"/>
              <a:chOff x="891584" y="2217828"/>
              <a:chExt cx="4049700" cy="3342040"/>
            </a:xfrm>
          </p:grpSpPr>
          <p:sp>
            <p:nvSpPr>
              <p:cNvPr id="27" name="Textfeld 26">
                <a:extLst>
                  <a:ext uri="{FF2B5EF4-FFF2-40B4-BE49-F238E27FC236}">
                    <a16:creationId xmlns:a16="http://schemas.microsoft.com/office/drawing/2014/main" id="{39D4DB82-7754-A45D-4065-630116C75786}"/>
                  </a:ext>
                </a:extLst>
              </p:cNvPr>
              <p:cNvSpPr txBox="1"/>
              <p:nvPr/>
            </p:nvSpPr>
            <p:spPr>
              <a:xfrm>
                <a:off x="891584" y="2217828"/>
                <a:ext cx="3802336" cy="30777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:r>
                  <a:rPr lang="de-DE" sz="2000" b="1" err="1">
                    <a:solidFill>
                      <a:schemeClr val="bg1"/>
                    </a:solidFill>
                  </a:rPr>
                  <a:t>Investing</a:t>
                </a:r>
                <a:r>
                  <a:rPr lang="de-DE" sz="2000" b="1">
                    <a:solidFill>
                      <a:schemeClr val="bg1"/>
                    </a:solidFill>
                  </a:rPr>
                  <a:t> </a:t>
                </a:r>
                <a:r>
                  <a:rPr lang="de-DE" sz="2000" b="1" err="1">
                    <a:solidFill>
                      <a:schemeClr val="bg1"/>
                    </a:solidFill>
                  </a:rPr>
                  <a:t>relies</a:t>
                </a:r>
                <a:r>
                  <a:rPr lang="de-DE" sz="2000" b="1">
                    <a:solidFill>
                      <a:schemeClr val="bg1"/>
                    </a:solidFill>
                  </a:rPr>
                  <a:t> </a:t>
                </a:r>
                <a:r>
                  <a:rPr lang="de-DE" sz="2000" b="1" err="1">
                    <a:solidFill>
                      <a:schemeClr val="bg1"/>
                    </a:solidFill>
                  </a:rPr>
                  <a:t>too</a:t>
                </a:r>
                <a:r>
                  <a:rPr lang="de-DE" sz="2000" b="1">
                    <a:solidFill>
                      <a:schemeClr val="bg1"/>
                    </a:solidFill>
                  </a:rPr>
                  <a:t> </a:t>
                </a:r>
                <a:r>
                  <a:rPr lang="de-DE" sz="2000" b="1" err="1">
                    <a:solidFill>
                      <a:schemeClr val="bg1"/>
                    </a:solidFill>
                  </a:rPr>
                  <a:t>much</a:t>
                </a:r>
                <a:r>
                  <a:rPr lang="de-DE" sz="2000" b="1">
                    <a:solidFill>
                      <a:schemeClr val="bg1"/>
                    </a:solidFill>
                  </a:rPr>
                  <a:t> on:</a:t>
                </a:r>
              </a:p>
            </p:txBody>
          </p:sp>
          <p:grpSp>
            <p:nvGrpSpPr>
              <p:cNvPr id="61" name="Group 60">
                <a:extLst>
                  <a:ext uri="{FF2B5EF4-FFF2-40B4-BE49-F238E27FC236}">
                    <a16:creationId xmlns:a16="http://schemas.microsoft.com/office/drawing/2014/main" id="{EED8B803-317B-B7A6-25FD-4F299229C1CB}"/>
                  </a:ext>
                </a:extLst>
              </p:cNvPr>
              <p:cNvGrpSpPr/>
              <p:nvPr/>
            </p:nvGrpSpPr>
            <p:grpSpPr>
              <a:xfrm>
                <a:off x="996873" y="2844803"/>
                <a:ext cx="3944411" cy="2715065"/>
                <a:chOff x="996873" y="2844803"/>
                <a:chExt cx="3944411" cy="2715065"/>
              </a:xfrm>
            </p:grpSpPr>
            <p:sp>
              <p:nvSpPr>
                <p:cNvPr id="43" name="Textfeld 42">
                  <a:extLst>
                    <a:ext uri="{FF2B5EF4-FFF2-40B4-BE49-F238E27FC236}">
                      <a16:creationId xmlns:a16="http://schemas.microsoft.com/office/drawing/2014/main" id="{A11D8D52-1623-AFFE-6888-2E1D3E95AD04}"/>
                    </a:ext>
                  </a:extLst>
                </p:cNvPr>
                <p:cNvSpPr txBox="1"/>
                <p:nvPr/>
              </p:nvSpPr>
              <p:spPr>
                <a:xfrm>
                  <a:off x="1913532" y="4151619"/>
                  <a:ext cx="2332754" cy="307777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r>
                    <a:rPr lang="en-US" sz="2000">
                      <a:solidFill>
                        <a:schemeClr val="bg1"/>
                      </a:solidFill>
                    </a:rPr>
                    <a:t>Missing benchmarks </a:t>
                  </a:r>
                </a:p>
              </p:txBody>
            </p:sp>
            <p:sp>
              <p:nvSpPr>
                <p:cNvPr id="44" name="Textfeld 43">
                  <a:extLst>
                    <a:ext uri="{FF2B5EF4-FFF2-40B4-BE49-F238E27FC236}">
                      <a16:creationId xmlns:a16="http://schemas.microsoft.com/office/drawing/2014/main" id="{6D53D6DF-D0F3-F788-C63A-109A4CE6AF8D}"/>
                    </a:ext>
                  </a:extLst>
                </p:cNvPr>
                <p:cNvSpPr txBox="1"/>
                <p:nvPr/>
              </p:nvSpPr>
              <p:spPr>
                <a:xfrm>
                  <a:off x="1913532" y="3014915"/>
                  <a:ext cx="1877437" cy="307777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r>
                    <a:rPr lang="en-US" sz="2000">
                      <a:solidFill>
                        <a:schemeClr val="bg1"/>
                      </a:solidFill>
                    </a:rPr>
                    <a:t>Incomplete data </a:t>
                  </a:r>
                </a:p>
              </p:txBody>
            </p:sp>
            <p:sp>
              <p:nvSpPr>
                <p:cNvPr id="45" name="Textfeld 44">
                  <a:extLst>
                    <a:ext uri="{FF2B5EF4-FFF2-40B4-BE49-F238E27FC236}">
                      <a16:creationId xmlns:a16="http://schemas.microsoft.com/office/drawing/2014/main" id="{DFB71660-3E08-EDA8-2B26-337F9A26C1B7}"/>
                    </a:ext>
                  </a:extLst>
                </p:cNvPr>
                <p:cNvSpPr txBox="1"/>
                <p:nvPr/>
              </p:nvSpPr>
              <p:spPr>
                <a:xfrm>
                  <a:off x="1913532" y="5081980"/>
                  <a:ext cx="3027752" cy="307777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r>
                    <a:rPr lang="en-US" sz="2000">
                      <a:solidFill>
                        <a:schemeClr val="bg1"/>
                      </a:solidFill>
                    </a:rPr>
                    <a:t>Imperfect criteria weighting</a:t>
                  </a:r>
                </a:p>
              </p:txBody>
            </p:sp>
            <p:pic>
              <p:nvPicPr>
                <p:cNvPr id="11" name="Graphic 10" descr="Seesaw outline">
                  <a:extLst>
                    <a:ext uri="{FF2B5EF4-FFF2-40B4-BE49-F238E27FC236}">
                      <a16:creationId xmlns:a16="http://schemas.microsoft.com/office/drawing/2014/main" id="{BCB95485-E20B-07C8-92DC-A43D54DAA9C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4">
                  <a:extLst>
                    <a:ext uri="{96DAC541-7B7A-43D3-8B79-37D633B846F1}">
                      <asvg:svgBlip xmlns:asvg="http://schemas.microsoft.com/office/drawing/2016/SVG/main" r:embed="rId2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96873" y="4911868"/>
                  <a:ext cx="648000" cy="648000"/>
                </a:xfrm>
                <a:prstGeom prst="rect">
                  <a:avLst/>
                </a:prstGeom>
              </p:spPr>
            </p:pic>
            <p:pic>
              <p:nvPicPr>
                <p:cNvPr id="23" name="Graphic 22" descr="Clipboard Partially Crossed outline">
                  <a:extLst>
                    <a:ext uri="{FF2B5EF4-FFF2-40B4-BE49-F238E27FC236}">
                      <a16:creationId xmlns:a16="http://schemas.microsoft.com/office/drawing/2014/main" id="{8DD008C4-BD47-4D6E-A6B8-DC1394925DB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6">
                  <a:extLst>
                    <a:ext uri="{96DAC541-7B7A-43D3-8B79-37D633B846F1}">
                      <asvg:svgBlip xmlns:asvg="http://schemas.microsoft.com/office/drawing/2016/SVG/main" r:embed="rId27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96873" y="2844803"/>
                  <a:ext cx="648000" cy="648000"/>
                </a:xfrm>
                <a:prstGeom prst="rect">
                  <a:avLst/>
                </a:prstGeom>
              </p:spPr>
            </p:pic>
            <p:pic>
              <p:nvPicPr>
                <p:cNvPr id="60" name="Graphic 59" descr="Flag outline">
                  <a:extLst>
                    <a:ext uri="{FF2B5EF4-FFF2-40B4-BE49-F238E27FC236}">
                      <a16:creationId xmlns:a16="http://schemas.microsoft.com/office/drawing/2014/main" id="{34C057FF-D9D9-3623-6796-1DB674E1AEB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8">
                  <a:extLst>
                    <a:ext uri="{96DAC541-7B7A-43D3-8B79-37D633B846F1}">
                      <asvg:svgBlip xmlns:asvg="http://schemas.microsoft.com/office/drawing/2016/SVG/main" r:embed="rId29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96873" y="3981507"/>
                  <a:ext cx="648000" cy="648000"/>
                </a:xfrm>
                <a:prstGeom prst="rect">
                  <a:avLst/>
                </a:prstGeom>
              </p:spPr>
            </p:pic>
          </p:grpSp>
        </p:grpSp>
      </p:grpSp>
    </p:spTree>
    <p:extLst>
      <p:ext uri="{BB962C8B-B14F-4D97-AF65-F5344CB8AC3E}">
        <p14:creationId xmlns:p14="http://schemas.microsoft.com/office/powerpoint/2010/main" val="8280093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152BD226-B79B-E629-F4FB-164B470435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4" name="think-cell data - do not delete" hidden="1">
            <a:extLst>
              <a:ext uri="{FF2B5EF4-FFF2-40B4-BE49-F238E27FC236}">
                <a16:creationId xmlns:a16="http://schemas.microsoft.com/office/drawing/2014/main" id="{FFE6BD42-3AC5-A1A2-5158-C698CE5D30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70359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6" imgH="486" progId="TCLayout.ActiveDocument.1">
                  <p:embed/>
                </p:oleObj>
              </mc:Choice>
              <mc:Fallback>
                <p:oleObj name="think-cell Slide" r:id="rId3" imgW="486" imgH="486" progId="TCLayout.ActiveDocument.1">
                  <p:embed/>
                  <p:pic>
                    <p:nvPicPr>
                      <p:cNvPr id="5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FE6BD42-3AC5-A1A2-5158-C698CE5D30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33">
            <a:extLst>
              <a:ext uri="{FF2B5EF4-FFF2-40B4-BE49-F238E27FC236}">
                <a16:creationId xmlns:a16="http://schemas.microsoft.com/office/drawing/2014/main" id="{F23BE05D-6B1E-A6B1-4FDF-0F4A76E2AC46}"/>
              </a:ext>
            </a:extLst>
          </p:cNvPr>
          <p:cNvSpPr txBox="1">
            <a:spLocks/>
          </p:cNvSpPr>
          <p:nvPr/>
        </p:nvSpPr>
        <p:spPr>
          <a:xfrm>
            <a:off x="794508" y="989857"/>
            <a:ext cx="10686292" cy="469490"/>
          </a:xfrm>
          <a:prstGeom prst="rect">
            <a:avLst/>
          </a:prstGeom>
        </p:spPr>
        <p:txBody>
          <a:bodyPr vert="horz" rtlCol="0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4400" b="1" kern="1200" cap="all" spc="400" baseline="0">
                <a:ln w="19050">
                  <a:solidFill>
                    <a:schemeClr val="accent2"/>
                  </a:solidFill>
                </a:ln>
                <a:noFill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2500">
                <a:ln w="19050">
                  <a:noFill/>
                </a:ln>
                <a:solidFill>
                  <a:schemeClr val="bg1"/>
                </a:solidFill>
                <a:latin typeface="Arial"/>
                <a:cs typeface="Arial"/>
              </a:rPr>
              <a:t>We help investors make better Decisions</a:t>
            </a:r>
          </a:p>
        </p:txBody>
      </p:sp>
      <p:sp>
        <p:nvSpPr>
          <p:cNvPr id="3" name="Titel 28">
            <a:extLst>
              <a:ext uri="{FF2B5EF4-FFF2-40B4-BE49-F238E27FC236}">
                <a16:creationId xmlns:a16="http://schemas.microsoft.com/office/drawing/2014/main" id="{0070BCA9-40AC-1DE0-6504-69C76594D01D}"/>
              </a:ext>
            </a:extLst>
          </p:cNvPr>
          <p:cNvSpPr txBox="1">
            <a:spLocks/>
          </p:cNvSpPr>
          <p:nvPr/>
        </p:nvSpPr>
        <p:spPr>
          <a:xfrm>
            <a:off x="794508" y="519712"/>
            <a:ext cx="3106932" cy="36576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 u="none" strike="noStrike" cap="all" spc="400" normalizeH="0" baseline="0">
                <a:ln w="19050">
                  <a:solidFill>
                    <a:schemeClr val="accent5"/>
                  </a:solidFill>
                </a:ln>
                <a:noFill/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sz="2000">
                <a:ln w="19050">
                  <a:solidFill>
                    <a:schemeClr val="accent5">
                      <a:alpha val="70000"/>
                    </a:schemeClr>
                  </a:solidFill>
                </a:ln>
              </a:rPr>
              <a:t>Solution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1090614-324A-62ED-B6DF-CCA6E921CE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rtl="0"/>
            <a:r>
              <a:rPr lang="en-US" noProof="0"/>
              <a:t>Q-Hack 25</a:t>
            </a:r>
            <a:endParaRPr lang="de-DE" noProof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C1E324DC-D1B1-7767-B047-EF8C2531D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rtl="0"/>
            <a:r>
              <a:rPr lang="de-DE" noProof="0"/>
              <a:t>disQover Pitch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CE889CB-BB4E-F9DF-54CB-6E2CD755E4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rtl="0"/>
            <a:fld id="{A402E4C0-AD5E-4E8C-9F21-7CCE474BDCEB}" type="slidenum">
              <a:rPr lang="de-DE" noProof="0" smtClean="0"/>
              <a:t>5</a:t>
            </a:fld>
            <a:endParaRPr lang="de-DE" noProof="0"/>
          </a:p>
        </p:txBody>
      </p:sp>
      <p:pic>
        <p:nvPicPr>
          <p:cNvPr id="53" name="Graphic 52" descr="Single gear outline">
            <a:extLst>
              <a:ext uri="{FF2B5EF4-FFF2-40B4-BE49-F238E27FC236}">
                <a16:creationId xmlns:a16="http://schemas.microsoft.com/office/drawing/2014/main" id="{7214BAF6-1AE8-47B1-BB4F-812C63D34A5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13487" t="12549" r="13487" b="12549"/>
          <a:stretch/>
        </p:blipFill>
        <p:spPr>
          <a:xfrm>
            <a:off x="2296160" y="3158477"/>
            <a:ext cx="7599680" cy="7794928"/>
          </a:xfrm>
          <a:prstGeom prst="rect">
            <a:avLst/>
          </a:prstGeom>
        </p:spPr>
      </p:pic>
      <p:grpSp>
        <p:nvGrpSpPr>
          <p:cNvPr id="94" name="Group 93">
            <a:extLst>
              <a:ext uri="{FF2B5EF4-FFF2-40B4-BE49-F238E27FC236}">
                <a16:creationId xmlns:a16="http://schemas.microsoft.com/office/drawing/2014/main" id="{1EFE4A26-6F8D-1A54-C1AD-F304830513D0}"/>
              </a:ext>
            </a:extLst>
          </p:cNvPr>
          <p:cNvGrpSpPr/>
          <p:nvPr/>
        </p:nvGrpSpPr>
        <p:grpSpPr>
          <a:xfrm>
            <a:off x="1371600" y="2340798"/>
            <a:ext cx="9276080" cy="3190240"/>
            <a:chOff x="1371600" y="2340798"/>
            <a:chExt cx="9276080" cy="3190240"/>
          </a:xfrm>
        </p:grpSpPr>
        <p:grpSp>
          <p:nvGrpSpPr>
            <p:cNvPr id="89" name="Group 88">
              <a:extLst>
                <a:ext uri="{FF2B5EF4-FFF2-40B4-BE49-F238E27FC236}">
                  <a16:creationId xmlns:a16="http://schemas.microsoft.com/office/drawing/2014/main" id="{46A41605-0622-C1B9-5601-E84B6D66CC69}"/>
                </a:ext>
              </a:extLst>
            </p:cNvPr>
            <p:cNvGrpSpPr/>
            <p:nvPr/>
          </p:nvGrpSpPr>
          <p:grpSpPr>
            <a:xfrm>
              <a:off x="1371600" y="2340798"/>
              <a:ext cx="9276080" cy="3190240"/>
              <a:chOff x="1371600" y="2340798"/>
              <a:chExt cx="9276080" cy="3190240"/>
            </a:xfrm>
          </p:grpSpPr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1E4ECA94-5393-AE8B-1758-11423E7D6BCD}"/>
                  </a:ext>
                </a:extLst>
              </p:cNvPr>
              <p:cNvSpPr/>
              <p:nvPr/>
            </p:nvSpPr>
            <p:spPr>
              <a:xfrm>
                <a:off x="1371600" y="2340798"/>
                <a:ext cx="2702560" cy="3190240"/>
              </a:xfrm>
              <a:prstGeom prst="rect">
                <a:avLst/>
              </a:prstGeom>
              <a:solidFill>
                <a:schemeClr val="tx2">
                  <a:lumMod val="75000"/>
                  <a:alpha val="6500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r>
                  <a:rPr lang="en-US" sz="2000" b="1"/>
                  <a:t>Startup Data </a:t>
                </a:r>
                <a:br>
                  <a:rPr lang="en-US" sz="2000" b="1"/>
                </a:br>
                <a:r>
                  <a:rPr lang="en-US" sz="2000" b="1"/>
                  <a:t>Input</a:t>
                </a:r>
              </a:p>
            </p:txBody>
          </p:sp>
          <p:sp>
            <p:nvSpPr>
              <p:cNvPr id="48" name="Rectangle 47">
                <a:extLst>
                  <a:ext uri="{FF2B5EF4-FFF2-40B4-BE49-F238E27FC236}">
                    <a16:creationId xmlns:a16="http://schemas.microsoft.com/office/drawing/2014/main" id="{15702B4E-9CC4-FE4F-E23C-A486E916F7E3}"/>
                  </a:ext>
                </a:extLst>
              </p:cNvPr>
              <p:cNvSpPr/>
              <p:nvPr/>
            </p:nvSpPr>
            <p:spPr>
              <a:xfrm>
                <a:off x="7945120" y="2340798"/>
                <a:ext cx="2702560" cy="3190240"/>
              </a:xfrm>
              <a:prstGeom prst="rect">
                <a:avLst/>
              </a:prstGeom>
              <a:solidFill>
                <a:schemeClr val="tx2">
                  <a:lumMod val="75000"/>
                  <a:alpha val="6500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r>
                  <a:rPr lang="en-US" sz="2000" b="1"/>
                  <a:t>Overview &amp; Recommendations</a:t>
                </a:r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09F51162-7D9C-7B43-EAF1-4E414296057D}"/>
                  </a:ext>
                </a:extLst>
              </p:cNvPr>
              <p:cNvSpPr/>
              <p:nvPr/>
            </p:nvSpPr>
            <p:spPr>
              <a:xfrm>
                <a:off x="4658360" y="2340798"/>
                <a:ext cx="2702560" cy="3190240"/>
              </a:xfrm>
              <a:prstGeom prst="rect">
                <a:avLst/>
              </a:prstGeom>
              <a:solidFill>
                <a:schemeClr val="tx2">
                  <a:lumMod val="75000"/>
                  <a:alpha val="6500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r>
                  <a:rPr lang="en-US" sz="2000" b="1"/>
                  <a:t>AI Agents </a:t>
                </a:r>
                <a:br>
                  <a:rPr lang="en-US" sz="2000" b="1"/>
                </a:br>
                <a:r>
                  <a:rPr lang="en-US" sz="2000" b="1"/>
                  <a:t>&amp; Crawlers</a:t>
                </a:r>
              </a:p>
            </p:txBody>
          </p:sp>
          <p:grpSp>
            <p:nvGrpSpPr>
              <p:cNvPr id="88" name="Group 87">
                <a:extLst>
                  <a:ext uri="{FF2B5EF4-FFF2-40B4-BE49-F238E27FC236}">
                    <a16:creationId xmlns:a16="http://schemas.microsoft.com/office/drawing/2014/main" id="{9587532E-BA7A-5AF9-0016-7503B10022CD}"/>
                  </a:ext>
                </a:extLst>
              </p:cNvPr>
              <p:cNvGrpSpPr/>
              <p:nvPr/>
            </p:nvGrpSpPr>
            <p:grpSpPr>
              <a:xfrm>
                <a:off x="8268672" y="4469439"/>
                <a:ext cx="2168820" cy="492443"/>
                <a:chOff x="8268672" y="4440864"/>
                <a:chExt cx="2168820" cy="492443"/>
              </a:xfrm>
            </p:grpSpPr>
            <p:sp>
              <p:nvSpPr>
                <p:cNvPr id="51" name="TextBox 50">
                  <a:extLst>
                    <a:ext uri="{FF2B5EF4-FFF2-40B4-BE49-F238E27FC236}">
                      <a16:creationId xmlns:a16="http://schemas.microsoft.com/office/drawing/2014/main" id="{AE691939-06A6-5130-C609-820224747EFB}"/>
                    </a:ext>
                  </a:extLst>
                </p:cNvPr>
                <p:cNvSpPr txBox="1"/>
                <p:nvPr/>
              </p:nvSpPr>
              <p:spPr>
                <a:xfrm>
                  <a:off x="8740772" y="4440864"/>
                  <a:ext cx="1696720" cy="492443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l"/>
                  <a:r>
                    <a:rPr lang="en-US" sz="1600">
                      <a:solidFill>
                        <a:schemeClr val="bg1"/>
                      </a:solidFill>
                    </a:rPr>
                    <a:t>Investment Recommendation</a:t>
                  </a:r>
                </a:p>
              </p:txBody>
            </p:sp>
            <p:pic>
              <p:nvPicPr>
                <p:cNvPr id="60" name="Graphic 59" descr="Thumbs up sign outline">
                  <a:extLst>
                    <a:ext uri="{FF2B5EF4-FFF2-40B4-BE49-F238E27FC236}">
                      <a16:creationId xmlns:a16="http://schemas.microsoft.com/office/drawing/2014/main" id="{485C4339-AC20-579D-FA90-6F6DDB42CE3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268672" y="4477668"/>
                  <a:ext cx="360000" cy="360000"/>
                </a:xfrm>
                <a:prstGeom prst="rect">
                  <a:avLst/>
                </a:prstGeom>
              </p:spPr>
            </p:pic>
          </p:grpSp>
          <p:grpSp>
            <p:nvGrpSpPr>
              <p:cNvPr id="80" name="Group 79">
                <a:extLst>
                  <a:ext uri="{FF2B5EF4-FFF2-40B4-BE49-F238E27FC236}">
                    <a16:creationId xmlns:a16="http://schemas.microsoft.com/office/drawing/2014/main" id="{E7722BB7-B1D4-86D8-0135-55F5DA4E2287}"/>
                  </a:ext>
                </a:extLst>
              </p:cNvPr>
              <p:cNvGrpSpPr/>
              <p:nvPr/>
            </p:nvGrpSpPr>
            <p:grpSpPr>
              <a:xfrm>
                <a:off x="1622464" y="4262519"/>
                <a:ext cx="1774148" cy="492443"/>
                <a:chOff x="1622464" y="4262519"/>
                <a:chExt cx="1774148" cy="492443"/>
              </a:xfrm>
            </p:grpSpPr>
            <p:sp>
              <p:nvSpPr>
                <p:cNvPr id="43" name="TextBox 42">
                  <a:extLst>
                    <a:ext uri="{FF2B5EF4-FFF2-40B4-BE49-F238E27FC236}">
                      <a16:creationId xmlns:a16="http://schemas.microsoft.com/office/drawing/2014/main" id="{3B8B3DD4-C403-BC79-6AE4-0F412B7B314D}"/>
                    </a:ext>
                  </a:extLst>
                </p:cNvPr>
                <p:cNvSpPr txBox="1"/>
                <p:nvPr/>
              </p:nvSpPr>
              <p:spPr>
                <a:xfrm>
                  <a:off x="2167252" y="4262519"/>
                  <a:ext cx="1229360" cy="492443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l"/>
                  <a:r>
                    <a:rPr lang="en-US" sz="1600">
                      <a:solidFill>
                        <a:schemeClr val="bg1"/>
                      </a:solidFill>
                    </a:rPr>
                    <a:t>Individual Observations</a:t>
                  </a:r>
                </a:p>
              </p:txBody>
            </p:sp>
            <p:pic>
              <p:nvPicPr>
                <p:cNvPr id="62" name="Graphic 61" descr="Research outline">
                  <a:extLst>
                    <a:ext uri="{FF2B5EF4-FFF2-40B4-BE49-F238E27FC236}">
                      <a16:creationId xmlns:a16="http://schemas.microsoft.com/office/drawing/2014/main" id="{F67E6CFD-4C2F-F174-E228-63B82E986C5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9">
                  <a:extLst>
                    <a:ext uri="{96DAC541-7B7A-43D3-8B79-37D633B846F1}">
                      <asvg:svgBlip xmlns:asvg="http://schemas.microsoft.com/office/drawing/2016/SVG/main" r:embed="rId1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622464" y="4310983"/>
                  <a:ext cx="360000" cy="360000"/>
                </a:xfrm>
                <a:prstGeom prst="rect">
                  <a:avLst/>
                </a:prstGeom>
              </p:spPr>
            </p:pic>
          </p:grpSp>
          <p:grpSp>
            <p:nvGrpSpPr>
              <p:cNvPr id="78" name="Group 77">
                <a:extLst>
                  <a:ext uri="{FF2B5EF4-FFF2-40B4-BE49-F238E27FC236}">
                    <a16:creationId xmlns:a16="http://schemas.microsoft.com/office/drawing/2014/main" id="{63F3EB2F-7F5D-605F-EF38-AF1C817A448D}"/>
                  </a:ext>
                </a:extLst>
              </p:cNvPr>
              <p:cNvGrpSpPr/>
              <p:nvPr/>
            </p:nvGrpSpPr>
            <p:grpSpPr>
              <a:xfrm>
                <a:off x="1622464" y="3805657"/>
                <a:ext cx="1452793" cy="360000"/>
                <a:chOff x="1622464" y="3805657"/>
                <a:chExt cx="1452793" cy="360000"/>
              </a:xfrm>
            </p:grpSpPr>
            <p:sp>
              <p:nvSpPr>
                <p:cNvPr id="42" name="TextBox 41">
                  <a:extLst>
                    <a:ext uri="{FF2B5EF4-FFF2-40B4-BE49-F238E27FC236}">
                      <a16:creationId xmlns:a16="http://schemas.microsoft.com/office/drawing/2014/main" id="{03B7B034-4DE1-F0B0-F4C1-DF1E6962D67F}"/>
                    </a:ext>
                  </a:extLst>
                </p:cNvPr>
                <p:cNvSpPr txBox="1"/>
                <p:nvPr/>
              </p:nvSpPr>
              <p:spPr>
                <a:xfrm>
                  <a:off x="2167252" y="3863579"/>
                  <a:ext cx="908005" cy="246221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none" lIns="0" tIns="0" rIns="0" bIns="0" rtlCol="0">
                  <a:spAutoFit/>
                </a:bodyPr>
                <a:lstStyle/>
                <a:p>
                  <a:pPr algn="l"/>
                  <a:r>
                    <a:rPr lang="en-US" sz="1600">
                      <a:solidFill>
                        <a:schemeClr val="bg1"/>
                      </a:solidFill>
                    </a:rPr>
                    <a:t>Financials</a:t>
                  </a:r>
                </a:p>
              </p:txBody>
            </p:sp>
            <p:pic>
              <p:nvPicPr>
                <p:cNvPr id="64" name="Graphic 63" descr="Table outline">
                  <a:extLst>
                    <a:ext uri="{FF2B5EF4-FFF2-40B4-BE49-F238E27FC236}">
                      <a16:creationId xmlns:a16="http://schemas.microsoft.com/office/drawing/2014/main" id="{544EAD6D-8A7E-E32F-D61D-63706399501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622464" y="3805657"/>
                  <a:ext cx="360000" cy="360000"/>
                </a:xfrm>
                <a:prstGeom prst="rect">
                  <a:avLst/>
                </a:prstGeom>
              </p:spPr>
            </p:pic>
          </p:grpSp>
          <p:grpSp>
            <p:nvGrpSpPr>
              <p:cNvPr id="86" name="Group 85">
                <a:extLst>
                  <a:ext uri="{FF2B5EF4-FFF2-40B4-BE49-F238E27FC236}">
                    <a16:creationId xmlns:a16="http://schemas.microsoft.com/office/drawing/2014/main" id="{6BCB00D9-366D-072C-E2A3-E3B139FC9B74}"/>
                  </a:ext>
                </a:extLst>
              </p:cNvPr>
              <p:cNvGrpSpPr/>
              <p:nvPr/>
            </p:nvGrpSpPr>
            <p:grpSpPr>
              <a:xfrm>
                <a:off x="8250600" y="3407754"/>
                <a:ext cx="1882092" cy="492443"/>
                <a:chOff x="8250600" y="3407754"/>
                <a:chExt cx="1882092" cy="492443"/>
              </a:xfrm>
            </p:grpSpPr>
            <p:sp>
              <p:nvSpPr>
                <p:cNvPr id="49" name="TextBox 48">
                  <a:extLst>
                    <a:ext uri="{FF2B5EF4-FFF2-40B4-BE49-F238E27FC236}">
                      <a16:creationId xmlns:a16="http://schemas.microsoft.com/office/drawing/2014/main" id="{93AD4A45-A19C-5CDC-609B-2110F9F9AAC7}"/>
                    </a:ext>
                  </a:extLst>
                </p:cNvPr>
                <p:cNvSpPr txBox="1"/>
                <p:nvPr/>
              </p:nvSpPr>
              <p:spPr>
                <a:xfrm>
                  <a:off x="8740772" y="3407754"/>
                  <a:ext cx="1391920" cy="492443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l"/>
                  <a:r>
                    <a:rPr lang="en-US" sz="1600">
                      <a:solidFill>
                        <a:schemeClr val="bg1"/>
                      </a:solidFill>
                    </a:rPr>
                    <a:t>Target Data Overview</a:t>
                  </a:r>
                </a:p>
              </p:txBody>
            </p:sp>
            <p:pic>
              <p:nvPicPr>
                <p:cNvPr id="66" name="Graphic 65" descr="Presentation with pie chart outline">
                  <a:extLst>
                    <a:ext uri="{FF2B5EF4-FFF2-40B4-BE49-F238E27FC236}">
                      <a16:creationId xmlns:a16="http://schemas.microsoft.com/office/drawing/2014/main" id="{4E9B2978-A130-5253-3445-0C96EE468AB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3">
                  <a:extLst>
                    <a:ext uri="{96DAC541-7B7A-43D3-8B79-37D633B846F1}">
                      <asvg:svgBlip xmlns:asvg="http://schemas.microsoft.com/office/drawing/2016/SVG/main" r:embed="rId1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250600" y="3472356"/>
                  <a:ext cx="360000" cy="360000"/>
                </a:xfrm>
                <a:prstGeom prst="rect">
                  <a:avLst/>
                </a:prstGeom>
              </p:spPr>
            </p:pic>
          </p:grpSp>
          <p:grpSp>
            <p:nvGrpSpPr>
              <p:cNvPr id="87" name="Group 86">
                <a:extLst>
                  <a:ext uri="{FF2B5EF4-FFF2-40B4-BE49-F238E27FC236}">
                    <a16:creationId xmlns:a16="http://schemas.microsoft.com/office/drawing/2014/main" id="{D1159F21-E264-5464-0C23-6040EEF8109E}"/>
                  </a:ext>
                </a:extLst>
              </p:cNvPr>
              <p:cNvGrpSpPr/>
              <p:nvPr/>
            </p:nvGrpSpPr>
            <p:grpSpPr>
              <a:xfrm>
                <a:off x="8250600" y="4014414"/>
                <a:ext cx="2102408" cy="360000"/>
                <a:chOff x="8250600" y="4014414"/>
                <a:chExt cx="2102408" cy="360000"/>
              </a:xfrm>
            </p:grpSpPr>
            <p:sp>
              <p:nvSpPr>
                <p:cNvPr id="50" name="TextBox 49">
                  <a:extLst>
                    <a:ext uri="{FF2B5EF4-FFF2-40B4-BE49-F238E27FC236}">
                      <a16:creationId xmlns:a16="http://schemas.microsoft.com/office/drawing/2014/main" id="{5C9290A9-23AE-2A59-CC5A-CEF6B55B0CDE}"/>
                    </a:ext>
                  </a:extLst>
                </p:cNvPr>
                <p:cNvSpPr txBox="1"/>
                <p:nvPr/>
              </p:nvSpPr>
              <p:spPr>
                <a:xfrm>
                  <a:off x="8740772" y="4047420"/>
                  <a:ext cx="1612236" cy="24622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algn="l"/>
                  <a:r>
                    <a:rPr lang="en-US" sz="1600">
                      <a:solidFill>
                        <a:schemeClr val="bg1"/>
                      </a:solidFill>
                    </a:rPr>
                    <a:t>Data Explanations</a:t>
                  </a:r>
                </a:p>
              </p:txBody>
            </p:sp>
            <p:pic>
              <p:nvPicPr>
                <p:cNvPr id="68" name="Graphic 67" descr="Document outline">
                  <a:extLst>
                    <a:ext uri="{FF2B5EF4-FFF2-40B4-BE49-F238E27FC236}">
                      <a16:creationId xmlns:a16="http://schemas.microsoft.com/office/drawing/2014/main" id="{34E2E53C-69F9-6F73-AE2D-290D6913F55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5">
                  <a:extLst>
                    <a:ext uri="{96DAC541-7B7A-43D3-8B79-37D633B846F1}">
                      <asvg:svgBlip xmlns:asvg="http://schemas.microsoft.com/office/drawing/2016/SVG/main" r:embed="rId16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250600" y="4014414"/>
                  <a:ext cx="360000" cy="360000"/>
                </a:xfrm>
                <a:prstGeom prst="rect">
                  <a:avLst/>
                </a:prstGeom>
              </p:spPr>
            </p:pic>
          </p:grpSp>
          <p:grpSp>
            <p:nvGrpSpPr>
              <p:cNvPr id="79" name="Group 78">
                <a:extLst>
                  <a:ext uri="{FF2B5EF4-FFF2-40B4-BE49-F238E27FC236}">
                    <a16:creationId xmlns:a16="http://schemas.microsoft.com/office/drawing/2014/main" id="{F8154935-9FCC-A13B-B780-CEFBB909FEE4}"/>
                  </a:ext>
                </a:extLst>
              </p:cNvPr>
              <p:cNvGrpSpPr/>
              <p:nvPr/>
            </p:nvGrpSpPr>
            <p:grpSpPr>
              <a:xfrm>
                <a:off x="1625600" y="3350863"/>
                <a:ext cx="1491079" cy="360000"/>
                <a:chOff x="1625600" y="3350863"/>
                <a:chExt cx="1491079" cy="360000"/>
              </a:xfrm>
            </p:grpSpPr>
            <p:sp>
              <p:nvSpPr>
                <p:cNvPr id="41" name="TextBox 40">
                  <a:extLst>
                    <a:ext uri="{FF2B5EF4-FFF2-40B4-BE49-F238E27FC236}">
                      <a16:creationId xmlns:a16="http://schemas.microsoft.com/office/drawing/2014/main" id="{78686A29-2DB8-0E85-FEAD-0C0B4CBB1052}"/>
                    </a:ext>
                  </a:extLst>
                </p:cNvPr>
                <p:cNvSpPr txBox="1"/>
                <p:nvPr/>
              </p:nvSpPr>
              <p:spPr>
                <a:xfrm>
                  <a:off x="2167252" y="3407753"/>
                  <a:ext cx="949427" cy="246221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none" lIns="0" tIns="0" rIns="0" bIns="0" rtlCol="0">
                  <a:spAutoFit/>
                </a:bodyPr>
                <a:lstStyle/>
                <a:p>
                  <a:pPr algn="l"/>
                  <a:r>
                    <a:rPr lang="en-US" sz="1600">
                      <a:solidFill>
                        <a:schemeClr val="bg1"/>
                      </a:solidFill>
                    </a:rPr>
                    <a:t>Pitch Deck</a:t>
                  </a:r>
                </a:p>
              </p:txBody>
            </p:sp>
            <p:pic>
              <p:nvPicPr>
                <p:cNvPr id="70" name="Graphic 69" descr="Paper outline">
                  <a:extLst>
                    <a:ext uri="{FF2B5EF4-FFF2-40B4-BE49-F238E27FC236}">
                      <a16:creationId xmlns:a16="http://schemas.microsoft.com/office/drawing/2014/main" id="{0EA2BA64-A72B-861F-E3F9-F5ECF86F221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7">
                  <a:extLst>
                    <a:ext uri="{96DAC541-7B7A-43D3-8B79-37D633B846F1}">
                      <asvg:svgBlip xmlns:asvg="http://schemas.microsoft.com/office/drawing/2016/SVG/main" r:embed="rId18"/>
                    </a:ext>
                  </a:extLst>
                </a:blip>
                <a:stretch>
                  <a:fillRect/>
                </a:stretch>
              </p:blipFill>
              <p:spPr>
                <a:xfrm rot="5400000" flipH="1">
                  <a:off x="1625600" y="3350863"/>
                  <a:ext cx="360000" cy="360000"/>
                </a:xfrm>
                <a:prstGeom prst="rect">
                  <a:avLst/>
                </a:prstGeom>
              </p:spPr>
            </p:pic>
          </p:grpSp>
          <p:grpSp>
            <p:nvGrpSpPr>
              <p:cNvPr id="81" name="Group 80">
                <a:extLst>
                  <a:ext uri="{FF2B5EF4-FFF2-40B4-BE49-F238E27FC236}">
                    <a16:creationId xmlns:a16="http://schemas.microsoft.com/office/drawing/2014/main" id="{F8909F68-FFEF-1BD1-8718-A0ADF09709A4}"/>
                  </a:ext>
                </a:extLst>
              </p:cNvPr>
              <p:cNvGrpSpPr/>
              <p:nvPr/>
            </p:nvGrpSpPr>
            <p:grpSpPr>
              <a:xfrm>
                <a:off x="4996844" y="3350863"/>
                <a:ext cx="1207245" cy="360000"/>
                <a:chOff x="4996844" y="3350863"/>
                <a:chExt cx="1207245" cy="360000"/>
              </a:xfrm>
            </p:grpSpPr>
            <p:sp>
              <p:nvSpPr>
                <p:cNvPr id="45" name="TextBox 44">
                  <a:extLst>
                    <a:ext uri="{FF2B5EF4-FFF2-40B4-BE49-F238E27FC236}">
                      <a16:creationId xmlns:a16="http://schemas.microsoft.com/office/drawing/2014/main" id="{082B2A5E-1C18-211E-D82C-8F1B0B24FFAC}"/>
                    </a:ext>
                  </a:extLst>
                </p:cNvPr>
                <p:cNvSpPr txBox="1"/>
                <p:nvPr/>
              </p:nvSpPr>
              <p:spPr>
                <a:xfrm>
                  <a:off x="5454012" y="3407753"/>
                  <a:ext cx="750077" cy="24622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algn="l"/>
                  <a:r>
                    <a:rPr lang="en-US" sz="1600">
                      <a:solidFill>
                        <a:schemeClr val="bg1"/>
                      </a:solidFill>
                    </a:rPr>
                    <a:t>LinkedIn</a:t>
                  </a:r>
                </a:p>
              </p:txBody>
            </p:sp>
            <p:pic>
              <p:nvPicPr>
                <p:cNvPr id="72" name="Graphic 71" descr="Detective male outline">
                  <a:extLst>
                    <a:ext uri="{FF2B5EF4-FFF2-40B4-BE49-F238E27FC236}">
                      <a16:creationId xmlns:a16="http://schemas.microsoft.com/office/drawing/2014/main" id="{7AC97E01-816D-B63C-92A5-A8DDB596D27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9">
                  <a:extLst>
                    <a:ext uri="{96DAC541-7B7A-43D3-8B79-37D633B846F1}">
                      <asvg:svgBlip xmlns:asvg="http://schemas.microsoft.com/office/drawing/2016/SVG/main" r:embed="rId2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996844" y="3350863"/>
                  <a:ext cx="360000" cy="360000"/>
                </a:xfrm>
                <a:prstGeom prst="rect">
                  <a:avLst/>
                </a:prstGeom>
              </p:spPr>
            </p:pic>
          </p:grpSp>
          <p:grpSp>
            <p:nvGrpSpPr>
              <p:cNvPr id="82" name="Group 81">
                <a:extLst>
                  <a:ext uri="{FF2B5EF4-FFF2-40B4-BE49-F238E27FC236}">
                    <a16:creationId xmlns:a16="http://schemas.microsoft.com/office/drawing/2014/main" id="{AC167BF0-9787-7796-78A7-B24986D1427F}"/>
                  </a:ext>
                </a:extLst>
              </p:cNvPr>
              <p:cNvGrpSpPr/>
              <p:nvPr/>
            </p:nvGrpSpPr>
            <p:grpSpPr>
              <a:xfrm>
                <a:off x="4996844" y="3800708"/>
                <a:ext cx="1879569" cy="360000"/>
                <a:chOff x="4996844" y="3749802"/>
                <a:chExt cx="1879569" cy="360000"/>
              </a:xfrm>
            </p:grpSpPr>
            <p:sp>
              <p:nvSpPr>
                <p:cNvPr id="46" name="TextBox 45">
                  <a:extLst>
                    <a:ext uri="{FF2B5EF4-FFF2-40B4-BE49-F238E27FC236}">
                      <a16:creationId xmlns:a16="http://schemas.microsoft.com/office/drawing/2014/main" id="{D194DB84-FA49-1CE1-F5C0-1BD8596A7F5B}"/>
                    </a:ext>
                  </a:extLst>
                </p:cNvPr>
                <p:cNvSpPr txBox="1"/>
                <p:nvPr/>
              </p:nvSpPr>
              <p:spPr>
                <a:xfrm>
                  <a:off x="5454013" y="3806692"/>
                  <a:ext cx="1422400" cy="246221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l"/>
                  <a:r>
                    <a:rPr lang="en-US" sz="1600">
                      <a:solidFill>
                        <a:schemeClr val="bg1"/>
                      </a:solidFill>
                    </a:rPr>
                    <a:t>News </a:t>
                  </a:r>
                </a:p>
              </p:txBody>
            </p:sp>
            <p:pic>
              <p:nvPicPr>
                <p:cNvPr id="75" name="Graphic 74" descr="Detective male outline">
                  <a:extLst>
                    <a:ext uri="{FF2B5EF4-FFF2-40B4-BE49-F238E27FC236}">
                      <a16:creationId xmlns:a16="http://schemas.microsoft.com/office/drawing/2014/main" id="{F412920D-71CD-58DE-30C1-59DF3A8F71F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9">
                  <a:extLst>
                    <a:ext uri="{96DAC541-7B7A-43D3-8B79-37D633B846F1}">
                      <asvg:svgBlip xmlns:asvg="http://schemas.microsoft.com/office/drawing/2016/SVG/main" r:embed="rId2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996844" y="3749802"/>
                  <a:ext cx="360000" cy="360000"/>
                </a:xfrm>
                <a:prstGeom prst="rect">
                  <a:avLst/>
                </a:prstGeom>
              </p:spPr>
            </p:pic>
          </p:grpSp>
          <p:grpSp>
            <p:nvGrpSpPr>
              <p:cNvPr id="84" name="Group 83">
                <a:extLst>
                  <a:ext uri="{FF2B5EF4-FFF2-40B4-BE49-F238E27FC236}">
                    <a16:creationId xmlns:a16="http://schemas.microsoft.com/office/drawing/2014/main" id="{44E3CA56-0169-C819-3478-A29CF40E937C}"/>
                  </a:ext>
                </a:extLst>
              </p:cNvPr>
              <p:cNvGrpSpPr/>
              <p:nvPr/>
            </p:nvGrpSpPr>
            <p:grpSpPr>
              <a:xfrm>
                <a:off x="4996844" y="4250553"/>
                <a:ext cx="2179288" cy="360000"/>
                <a:chOff x="4996844" y="4148741"/>
                <a:chExt cx="2179288" cy="360000"/>
              </a:xfrm>
            </p:grpSpPr>
            <p:sp>
              <p:nvSpPr>
                <p:cNvPr id="47" name="TextBox 46">
                  <a:extLst>
                    <a:ext uri="{FF2B5EF4-FFF2-40B4-BE49-F238E27FC236}">
                      <a16:creationId xmlns:a16="http://schemas.microsoft.com/office/drawing/2014/main" id="{3F3DFB2F-CF7E-33B7-33BC-8D53A24CC9AB}"/>
                    </a:ext>
                  </a:extLst>
                </p:cNvPr>
                <p:cNvSpPr txBox="1"/>
                <p:nvPr/>
              </p:nvSpPr>
              <p:spPr>
                <a:xfrm>
                  <a:off x="5454012" y="4205632"/>
                  <a:ext cx="1722120" cy="246221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l"/>
                  <a:r>
                    <a:rPr lang="en-US" sz="1600">
                      <a:solidFill>
                        <a:schemeClr val="bg1"/>
                      </a:solidFill>
                    </a:rPr>
                    <a:t>Financial Data</a:t>
                  </a:r>
                </a:p>
              </p:txBody>
            </p:sp>
            <p:pic>
              <p:nvPicPr>
                <p:cNvPr id="76" name="Graphic 75" descr="Detective male outline">
                  <a:extLst>
                    <a:ext uri="{FF2B5EF4-FFF2-40B4-BE49-F238E27FC236}">
                      <a16:creationId xmlns:a16="http://schemas.microsoft.com/office/drawing/2014/main" id="{BC24D8B7-ECF2-255A-0D42-3C1B56EDDF2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9">
                  <a:extLst>
                    <a:ext uri="{96DAC541-7B7A-43D3-8B79-37D633B846F1}">
                      <asvg:svgBlip xmlns:asvg="http://schemas.microsoft.com/office/drawing/2016/SVG/main" r:embed="rId2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996844" y="4148741"/>
                  <a:ext cx="360000" cy="360000"/>
                </a:xfrm>
                <a:prstGeom prst="rect">
                  <a:avLst/>
                </a:prstGeom>
              </p:spPr>
            </p:pic>
          </p:grpSp>
          <p:grpSp>
            <p:nvGrpSpPr>
              <p:cNvPr id="85" name="Group 84">
                <a:extLst>
                  <a:ext uri="{FF2B5EF4-FFF2-40B4-BE49-F238E27FC236}">
                    <a16:creationId xmlns:a16="http://schemas.microsoft.com/office/drawing/2014/main" id="{68B2F6C3-6108-592F-B409-B5BB93B114F2}"/>
                  </a:ext>
                </a:extLst>
              </p:cNvPr>
              <p:cNvGrpSpPr/>
              <p:nvPr/>
            </p:nvGrpSpPr>
            <p:grpSpPr>
              <a:xfrm>
                <a:off x="4996844" y="4700399"/>
                <a:ext cx="2179288" cy="360000"/>
                <a:chOff x="4996844" y="4547681"/>
                <a:chExt cx="2179288" cy="360000"/>
              </a:xfrm>
            </p:grpSpPr>
            <p:sp>
              <p:nvSpPr>
                <p:cNvPr id="58" name="TextBox 57">
                  <a:extLst>
                    <a:ext uri="{FF2B5EF4-FFF2-40B4-BE49-F238E27FC236}">
                      <a16:creationId xmlns:a16="http://schemas.microsoft.com/office/drawing/2014/main" id="{BA3DA393-F793-2B03-95FC-F6F385E2C036}"/>
                    </a:ext>
                  </a:extLst>
                </p:cNvPr>
                <p:cNvSpPr txBox="1"/>
                <p:nvPr/>
              </p:nvSpPr>
              <p:spPr>
                <a:xfrm>
                  <a:off x="5454012" y="4604571"/>
                  <a:ext cx="1722120" cy="246221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l"/>
                  <a:r>
                    <a:rPr lang="en-US" sz="1600">
                      <a:solidFill>
                        <a:schemeClr val="bg1"/>
                      </a:solidFill>
                    </a:rPr>
                    <a:t>Web Search Data</a:t>
                  </a:r>
                </a:p>
              </p:txBody>
            </p:sp>
            <p:pic>
              <p:nvPicPr>
                <p:cNvPr id="77" name="Graphic 76" descr="Detective male outline">
                  <a:extLst>
                    <a:ext uri="{FF2B5EF4-FFF2-40B4-BE49-F238E27FC236}">
                      <a16:creationId xmlns:a16="http://schemas.microsoft.com/office/drawing/2014/main" id="{6CB721B1-7B65-A9B3-CFA2-91DB75258F7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9">
                  <a:extLst>
                    <a:ext uri="{96DAC541-7B7A-43D3-8B79-37D633B846F1}">
                      <asvg:svgBlip xmlns:asvg="http://schemas.microsoft.com/office/drawing/2016/SVG/main" r:embed="rId2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996844" y="4547681"/>
                  <a:ext cx="360000" cy="360000"/>
                </a:xfrm>
                <a:prstGeom prst="rect">
                  <a:avLst/>
                </a:prstGeom>
              </p:spPr>
            </p:pic>
          </p:grpSp>
        </p:grpSp>
        <p:cxnSp>
          <p:nvCxnSpPr>
            <p:cNvPr id="91" name="Straight Arrow Connector 90">
              <a:extLst>
                <a:ext uri="{FF2B5EF4-FFF2-40B4-BE49-F238E27FC236}">
                  <a16:creationId xmlns:a16="http://schemas.microsoft.com/office/drawing/2014/main" id="{60D01A59-5F72-F7D2-299A-F9F59FD7C498}"/>
                </a:ext>
              </a:extLst>
            </p:cNvPr>
            <p:cNvCxnSpPr>
              <a:cxnSpLocks/>
            </p:cNvCxnSpPr>
            <p:nvPr/>
          </p:nvCxnSpPr>
          <p:spPr>
            <a:xfrm>
              <a:off x="4074160" y="2692037"/>
              <a:ext cx="284480" cy="0"/>
            </a:xfrm>
            <a:prstGeom prst="straightConnector1">
              <a:avLst/>
            </a:prstGeom>
            <a:ln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Straight Arrow Connector 92">
              <a:extLst>
                <a:ext uri="{FF2B5EF4-FFF2-40B4-BE49-F238E27FC236}">
                  <a16:creationId xmlns:a16="http://schemas.microsoft.com/office/drawing/2014/main" id="{FB9FC196-172B-E671-E6AA-E0577B2AE2C9}"/>
                </a:ext>
              </a:extLst>
            </p:cNvPr>
            <p:cNvCxnSpPr>
              <a:cxnSpLocks/>
            </p:cNvCxnSpPr>
            <p:nvPr/>
          </p:nvCxnSpPr>
          <p:spPr>
            <a:xfrm>
              <a:off x="7360920" y="2692037"/>
              <a:ext cx="284480" cy="0"/>
            </a:xfrm>
            <a:prstGeom prst="straightConnector1">
              <a:avLst/>
            </a:prstGeom>
            <a:ln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3277341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" dur="12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7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2C6499D4-07CA-55CC-63B3-CAFEDFD310E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33">
            <a:extLst>
              <a:ext uri="{FF2B5EF4-FFF2-40B4-BE49-F238E27FC236}">
                <a16:creationId xmlns:a16="http://schemas.microsoft.com/office/drawing/2014/main" id="{CBC8432B-4511-51A3-F74F-13E7C9F47F80}"/>
              </a:ext>
            </a:extLst>
          </p:cNvPr>
          <p:cNvSpPr txBox="1">
            <a:spLocks/>
          </p:cNvSpPr>
          <p:nvPr/>
        </p:nvSpPr>
        <p:spPr>
          <a:xfrm>
            <a:off x="794508" y="989857"/>
            <a:ext cx="10686292" cy="469490"/>
          </a:xfrm>
          <a:prstGeom prst="rect">
            <a:avLst/>
          </a:prstGeom>
        </p:spPr>
        <p:txBody>
          <a:bodyPr vert="horz" rtlCol="0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4400" b="1" kern="1200" cap="all" spc="400" baseline="0">
                <a:ln w="19050">
                  <a:solidFill>
                    <a:schemeClr val="accent2"/>
                  </a:solidFill>
                </a:ln>
                <a:noFill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2500">
                <a:ln w="19050">
                  <a:noFill/>
                </a:ln>
                <a:solidFill>
                  <a:schemeClr val="bg1"/>
                </a:solidFill>
                <a:latin typeface="Arial"/>
                <a:cs typeface="Arial"/>
              </a:rPr>
              <a:t>We Analyze investment potential</a:t>
            </a:r>
          </a:p>
        </p:txBody>
      </p:sp>
      <p:sp>
        <p:nvSpPr>
          <p:cNvPr id="3" name="Titel 28">
            <a:extLst>
              <a:ext uri="{FF2B5EF4-FFF2-40B4-BE49-F238E27FC236}">
                <a16:creationId xmlns:a16="http://schemas.microsoft.com/office/drawing/2014/main" id="{D82305FB-9BAC-DDBB-E454-46192F41AA55}"/>
              </a:ext>
            </a:extLst>
          </p:cNvPr>
          <p:cNvSpPr txBox="1">
            <a:spLocks/>
          </p:cNvSpPr>
          <p:nvPr/>
        </p:nvSpPr>
        <p:spPr>
          <a:xfrm>
            <a:off x="794508" y="519712"/>
            <a:ext cx="3106932" cy="36576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 u="none" strike="noStrike" cap="all" spc="400" normalizeH="0" baseline="0">
                <a:ln w="19050">
                  <a:solidFill>
                    <a:schemeClr val="accent5"/>
                  </a:solidFill>
                </a:ln>
                <a:noFill/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sz="2000">
                <a:ln w="19050">
                  <a:solidFill>
                    <a:schemeClr val="accent5">
                      <a:alpha val="70000"/>
                    </a:schemeClr>
                  </a:solidFill>
                </a:ln>
              </a:rPr>
              <a:t>Solution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1010FF1A-D0BD-4F76-75E0-C6C7E0D914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rtl="0"/>
            <a:r>
              <a:rPr lang="en-US" noProof="0"/>
              <a:t>Q-Hack 25</a:t>
            </a:r>
            <a:endParaRPr lang="de-DE" noProof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A6DF93D-694F-E34A-4DE1-F1E23A9836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rtl="0"/>
            <a:r>
              <a:rPr lang="de-DE" noProof="0"/>
              <a:t>disQover Pitch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8F64B71-C682-5353-9AE8-0F8F669D9D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rtl="0"/>
            <a:fld id="{A402E4C0-AD5E-4E8C-9F21-7CCE474BDCEB}" type="slidenum">
              <a:rPr lang="de-DE" noProof="0" smtClean="0"/>
              <a:t>6</a:t>
            </a:fld>
            <a:endParaRPr lang="de-DE" noProof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B035EC5B-7EFF-39EC-1145-BA078838169D}"/>
              </a:ext>
            </a:extLst>
          </p:cNvPr>
          <p:cNvGrpSpPr/>
          <p:nvPr/>
        </p:nvGrpSpPr>
        <p:grpSpPr>
          <a:xfrm>
            <a:off x="838200" y="1778000"/>
            <a:ext cx="10515602" cy="2428240"/>
            <a:chOff x="838200" y="1778000"/>
            <a:chExt cx="10515602" cy="2428240"/>
          </a:xfrm>
        </p:grpSpPr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8C9AD1D9-0D21-BFA4-F352-6754D1806D35}"/>
                </a:ext>
              </a:extLst>
            </p:cNvPr>
            <p:cNvGrpSpPr/>
            <p:nvPr/>
          </p:nvGrpSpPr>
          <p:grpSpPr>
            <a:xfrm>
              <a:off x="838200" y="1778000"/>
              <a:ext cx="4973320" cy="2428240"/>
              <a:chOff x="838200" y="1778000"/>
              <a:chExt cx="4973320" cy="2428240"/>
            </a:xfrm>
          </p:grpSpPr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C755C07D-BB29-E611-6FDB-B72C8589EC1D}"/>
                  </a:ext>
                </a:extLst>
              </p:cNvPr>
              <p:cNvSpPr/>
              <p:nvPr/>
            </p:nvSpPr>
            <p:spPr>
              <a:xfrm>
                <a:off x="838200" y="1778000"/>
                <a:ext cx="4973320" cy="2428240"/>
              </a:xfrm>
              <a:prstGeom prst="rect">
                <a:avLst/>
              </a:prstGeom>
              <a:solidFill>
                <a:schemeClr val="tx2">
                  <a:alpha val="3400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r>
                  <a:rPr lang="en-US" sz="2000" b="1"/>
                  <a:t>TARGET ANALYSIS</a:t>
                </a: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7F83841A-F69D-AC7C-8DF3-99CA851A1535}"/>
                  </a:ext>
                </a:extLst>
              </p:cNvPr>
              <p:cNvSpPr/>
              <p:nvPr/>
            </p:nvSpPr>
            <p:spPr>
              <a:xfrm>
                <a:off x="3435350" y="2394388"/>
                <a:ext cx="2110740" cy="1618594"/>
              </a:xfrm>
              <a:prstGeom prst="rect">
                <a:avLst/>
              </a:prstGeom>
              <a:solidFill>
                <a:schemeClr val="tx2">
                  <a:alpha val="3400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r>
                  <a:rPr lang="en-US" b="1"/>
                  <a:t>Crawled Data</a:t>
                </a:r>
              </a:p>
              <a:p>
                <a:pPr algn="ctr"/>
                <a:endParaRPr lang="en-US" b="1"/>
              </a:p>
              <a:p>
                <a:pPr algn="ctr"/>
                <a:r>
                  <a:rPr lang="en-US"/>
                  <a:t>Social Media</a:t>
                </a:r>
              </a:p>
              <a:p>
                <a:pPr algn="ctr"/>
                <a:r>
                  <a:rPr lang="en-US"/>
                  <a:t>GitHub </a:t>
                </a:r>
              </a:p>
              <a:p>
                <a:pPr algn="ctr"/>
                <a:r>
                  <a:rPr lang="en-US"/>
                  <a:t>Databases</a:t>
                </a:r>
              </a:p>
            </p:txBody>
          </p: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91AFF01D-7548-8CA9-AF9B-88D87FC4DDF8}"/>
                  </a:ext>
                </a:extLst>
              </p:cNvPr>
              <p:cNvSpPr/>
              <p:nvPr/>
            </p:nvSpPr>
            <p:spPr>
              <a:xfrm>
                <a:off x="1120140" y="2394388"/>
                <a:ext cx="2110740" cy="1618594"/>
              </a:xfrm>
              <a:prstGeom prst="rect">
                <a:avLst/>
              </a:prstGeom>
              <a:solidFill>
                <a:schemeClr val="tx2">
                  <a:alpha val="3400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r>
                  <a:rPr lang="en-US" b="1"/>
                  <a:t>Startup Data </a:t>
                </a:r>
              </a:p>
              <a:p>
                <a:pPr algn="ctr"/>
                <a:endParaRPr lang="en-US" b="1"/>
              </a:p>
              <a:p>
                <a:pPr algn="ctr"/>
                <a:r>
                  <a:rPr lang="en-US"/>
                  <a:t>Pitch Deck</a:t>
                </a:r>
              </a:p>
              <a:p>
                <a:pPr algn="ctr"/>
                <a:r>
                  <a:rPr lang="en-US"/>
                  <a:t>Financials </a:t>
                </a:r>
              </a:p>
              <a:p>
                <a:pPr algn="ctr"/>
                <a:r>
                  <a:rPr lang="en-US"/>
                  <a:t>Individual data</a:t>
                </a:r>
              </a:p>
            </p:txBody>
          </p:sp>
        </p:grpSp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3288959C-CBA7-222D-CE33-4753A4502A0F}"/>
                </a:ext>
              </a:extLst>
            </p:cNvPr>
            <p:cNvGrpSpPr/>
            <p:nvPr/>
          </p:nvGrpSpPr>
          <p:grpSpPr>
            <a:xfrm>
              <a:off x="5918200" y="1778000"/>
              <a:ext cx="5435602" cy="2428240"/>
              <a:chOff x="5918200" y="1778000"/>
              <a:chExt cx="5435602" cy="2428240"/>
            </a:xfrm>
          </p:grpSpPr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D4A86269-7650-878C-8C3F-8CA434DF4E48}"/>
                  </a:ext>
                </a:extLst>
              </p:cNvPr>
              <p:cNvSpPr/>
              <p:nvPr/>
            </p:nvSpPr>
            <p:spPr>
              <a:xfrm>
                <a:off x="6380482" y="1778000"/>
                <a:ext cx="4973320" cy="2428240"/>
              </a:xfrm>
              <a:prstGeom prst="rect">
                <a:avLst/>
              </a:prstGeom>
              <a:solidFill>
                <a:schemeClr val="tx2">
                  <a:alpha val="3400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r>
                  <a:rPr lang="en-US" sz="2000" b="1"/>
                  <a:t>INDUSTRY ANALYSIS</a:t>
                </a:r>
              </a:p>
            </p:txBody>
          </p:sp>
          <p:grpSp>
            <p:nvGrpSpPr>
              <p:cNvPr id="27" name="Group 26">
                <a:extLst>
                  <a:ext uri="{FF2B5EF4-FFF2-40B4-BE49-F238E27FC236}">
                    <a16:creationId xmlns:a16="http://schemas.microsoft.com/office/drawing/2014/main" id="{60E16184-CE7C-9C09-A559-76D21DCBC56B}"/>
                  </a:ext>
                </a:extLst>
              </p:cNvPr>
              <p:cNvGrpSpPr/>
              <p:nvPr/>
            </p:nvGrpSpPr>
            <p:grpSpPr>
              <a:xfrm>
                <a:off x="5918200" y="1905721"/>
                <a:ext cx="355600" cy="2147047"/>
                <a:chOff x="5923281" y="1905721"/>
                <a:chExt cx="355600" cy="2147047"/>
              </a:xfrm>
            </p:grpSpPr>
            <p:cxnSp>
              <p:nvCxnSpPr>
                <p:cNvPr id="15" name="Straight Connector 14">
                  <a:extLst>
                    <a:ext uri="{FF2B5EF4-FFF2-40B4-BE49-F238E27FC236}">
                      <a16:creationId xmlns:a16="http://schemas.microsoft.com/office/drawing/2014/main" id="{166D80B8-5B90-53FE-6807-0279B9189FC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923281" y="2204268"/>
                  <a:ext cx="355600" cy="152400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" name="Straight Connector 15">
                  <a:extLst>
                    <a:ext uri="{FF2B5EF4-FFF2-40B4-BE49-F238E27FC236}">
                      <a16:creationId xmlns:a16="http://schemas.microsoft.com/office/drawing/2014/main" id="{B053AF02-E009-003B-F85D-977CA35FDBD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5923281" y="1905721"/>
                  <a:ext cx="355600" cy="152400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" name="Straight Connector 16">
                  <a:extLst>
                    <a:ext uri="{FF2B5EF4-FFF2-40B4-BE49-F238E27FC236}">
                      <a16:creationId xmlns:a16="http://schemas.microsoft.com/office/drawing/2014/main" id="{47010633-3B0F-EE75-8A3A-AC0847701FC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923281" y="2449414"/>
                  <a:ext cx="355600" cy="152400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" name="Straight Connector 17">
                  <a:extLst>
                    <a:ext uri="{FF2B5EF4-FFF2-40B4-BE49-F238E27FC236}">
                      <a16:creationId xmlns:a16="http://schemas.microsoft.com/office/drawing/2014/main" id="{5B41B87B-A02F-375C-7F24-90AA16921A8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5923281" y="2747961"/>
                  <a:ext cx="355600" cy="152400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" name="Straight Connector 18">
                  <a:extLst>
                    <a:ext uri="{FF2B5EF4-FFF2-40B4-BE49-F238E27FC236}">
                      <a16:creationId xmlns:a16="http://schemas.microsoft.com/office/drawing/2014/main" id="{1810A2FE-D97B-7C79-01E2-A856253762A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923281" y="2822876"/>
                  <a:ext cx="355600" cy="152400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" name="Straight Connector 19">
                  <a:extLst>
                    <a:ext uri="{FF2B5EF4-FFF2-40B4-BE49-F238E27FC236}">
                      <a16:creationId xmlns:a16="http://schemas.microsoft.com/office/drawing/2014/main" id="{E65084DE-0618-D78E-0E37-08E070B7A47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923281" y="3138932"/>
                  <a:ext cx="355600" cy="152400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" name="Straight Connector 20">
                  <a:extLst>
                    <a:ext uri="{FF2B5EF4-FFF2-40B4-BE49-F238E27FC236}">
                      <a16:creationId xmlns:a16="http://schemas.microsoft.com/office/drawing/2014/main" id="{3EBEEBD9-73DA-1AD8-C8C5-C8D320AC116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923281" y="3900368"/>
                  <a:ext cx="355600" cy="152400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" name="Straight Connector 21">
                  <a:extLst>
                    <a:ext uri="{FF2B5EF4-FFF2-40B4-BE49-F238E27FC236}">
                      <a16:creationId xmlns:a16="http://schemas.microsoft.com/office/drawing/2014/main" id="{EB1CE046-CA26-7CB6-AC5F-E70F01B34DC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5923281" y="3825456"/>
                  <a:ext cx="355600" cy="152400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" name="Straight Connector 22">
                  <a:extLst>
                    <a:ext uri="{FF2B5EF4-FFF2-40B4-BE49-F238E27FC236}">
                      <a16:creationId xmlns:a16="http://schemas.microsoft.com/office/drawing/2014/main" id="{DBC9EDCD-6BAD-3FD8-015E-35963AC3625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923281" y="3469373"/>
                  <a:ext cx="355600" cy="152400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" name="Straight Connector 23">
                  <a:extLst>
                    <a:ext uri="{FF2B5EF4-FFF2-40B4-BE49-F238E27FC236}">
                      <a16:creationId xmlns:a16="http://schemas.microsoft.com/office/drawing/2014/main" id="{FD2613C1-6A8A-859C-98DF-81282329691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5923281" y="3518677"/>
                  <a:ext cx="355600" cy="152400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7FA64806-FF34-D3FD-94FE-0D0E7E704719}"/>
                  </a:ext>
                </a:extLst>
              </p:cNvPr>
              <p:cNvSpPr/>
              <p:nvPr/>
            </p:nvSpPr>
            <p:spPr>
              <a:xfrm>
                <a:off x="8961120" y="2394388"/>
                <a:ext cx="2110740" cy="1618594"/>
              </a:xfrm>
              <a:prstGeom prst="rect">
                <a:avLst/>
              </a:prstGeom>
              <a:solidFill>
                <a:schemeClr val="tx2">
                  <a:alpha val="3400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r>
                  <a:rPr lang="en-US" b="1"/>
                  <a:t>Expert Benchmarks</a:t>
                </a:r>
              </a:p>
              <a:p>
                <a:pPr algn="ctr"/>
                <a:endParaRPr lang="en-US" b="1"/>
              </a:p>
              <a:p>
                <a:pPr algn="ctr"/>
                <a:r>
                  <a:rPr lang="en-US"/>
                  <a:t>VC investors chosen KPIs</a:t>
                </a:r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53745963-0956-7890-86F6-CC42AE693D14}"/>
                  </a:ext>
                </a:extLst>
              </p:cNvPr>
              <p:cNvSpPr/>
              <p:nvPr/>
            </p:nvSpPr>
            <p:spPr>
              <a:xfrm>
                <a:off x="6645910" y="2394388"/>
                <a:ext cx="2110740" cy="1618594"/>
              </a:xfrm>
              <a:prstGeom prst="rect">
                <a:avLst/>
              </a:prstGeom>
              <a:solidFill>
                <a:schemeClr val="tx2">
                  <a:alpha val="3400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r>
                  <a:rPr lang="en-US" b="1"/>
                  <a:t>Crawled </a:t>
                </a:r>
                <a:br>
                  <a:rPr lang="en-US" b="1"/>
                </a:br>
                <a:r>
                  <a:rPr lang="en-US" b="1"/>
                  <a:t>Public Data</a:t>
                </a:r>
              </a:p>
              <a:p>
                <a:pPr algn="ctr"/>
                <a:endParaRPr lang="en-US" b="1"/>
              </a:p>
              <a:p>
                <a:pPr algn="ctr"/>
                <a:r>
                  <a:rPr lang="en-US"/>
                  <a:t>Crunchbase dataset analysis</a:t>
                </a:r>
              </a:p>
            </p:txBody>
          </p:sp>
        </p:grp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ABEDBAEF-728C-9C21-1A2A-EB7C18CF63E6}"/>
              </a:ext>
            </a:extLst>
          </p:cNvPr>
          <p:cNvGrpSpPr/>
          <p:nvPr/>
        </p:nvGrpSpPr>
        <p:grpSpPr>
          <a:xfrm>
            <a:off x="838200" y="4427302"/>
            <a:ext cx="10515600" cy="1775576"/>
            <a:chOff x="838200" y="4427302"/>
            <a:chExt cx="10515600" cy="1775576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22035187-63DD-5ED5-1D8D-E8CC9B73FA21}"/>
                </a:ext>
              </a:extLst>
            </p:cNvPr>
            <p:cNvSpPr/>
            <p:nvPr/>
          </p:nvSpPr>
          <p:spPr>
            <a:xfrm>
              <a:off x="838200" y="4876799"/>
              <a:ext cx="10515600" cy="1326079"/>
            </a:xfrm>
            <a:prstGeom prst="rect">
              <a:avLst/>
            </a:prstGeom>
            <a:solidFill>
              <a:schemeClr val="tx2">
                <a:alpha val="34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sz="2000" b="1"/>
                <a:t>TARGET EVALUATION</a:t>
              </a:r>
            </a:p>
            <a:p>
              <a:pPr algn="ctr"/>
              <a:r>
                <a:rPr lang="en-US" b="1"/>
                <a:t> </a:t>
              </a:r>
            </a:p>
            <a:p>
              <a:pPr algn="ctr"/>
              <a:endParaRPr lang="en-US" b="1"/>
            </a:p>
          </p:txBody>
        </p:sp>
        <p:sp>
          <p:nvSpPr>
            <p:cNvPr id="13" name="Isosceles Triangle 12">
              <a:extLst>
                <a:ext uri="{FF2B5EF4-FFF2-40B4-BE49-F238E27FC236}">
                  <a16:creationId xmlns:a16="http://schemas.microsoft.com/office/drawing/2014/main" id="{9FF96003-B0EA-FA7B-A512-5B1C9BB403B2}"/>
                </a:ext>
              </a:extLst>
            </p:cNvPr>
            <p:cNvSpPr/>
            <p:nvPr/>
          </p:nvSpPr>
          <p:spPr>
            <a:xfrm rot="10800000">
              <a:off x="1412240" y="4427302"/>
              <a:ext cx="9367520" cy="269076"/>
            </a:xfrm>
            <a:prstGeom prst="triangle">
              <a:avLst/>
            </a:prstGeom>
            <a:solidFill>
              <a:schemeClr val="bg1">
                <a:alpha val="14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lang="en-US" b="1"/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36CAC643-A36B-EE3C-8720-038991A34055}"/>
                </a:ext>
              </a:extLst>
            </p:cNvPr>
            <p:cNvSpPr/>
            <p:nvPr/>
          </p:nvSpPr>
          <p:spPr>
            <a:xfrm>
              <a:off x="1154430" y="5342210"/>
              <a:ext cx="4657090" cy="689518"/>
            </a:xfrm>
            <a:prstGeom prst="rect">
              <a:avLst/>
            </a:prstGeom>
            <a:solidFill>
              <a:schemeClr val="tx2">
                <a:alpha val="34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/>
                <a:t>Overview of Target KPIs vs. </a:t>
              </a:r>
              <a:br>
                <a:rPr lang="en-US" b="1"/>
              </a:br>
              <a:r>
                <a:rPr lang="en-US" b="1"/>
                <a:t>Industry Benchmarks</a:t>
              </a:r>
              <a:endParaRPr lang="en-US"/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24E97338-056A-54F6-4A3B-CB843DA19F35}"/>
                </a:ext>
              </a:extLst>
            </p:cNvPr>
            <p:cNvSpPr/>
            <p:nvPr/>
          </p:nvSpPr>
          <p:spPr>
            <a:xfrm>
              <a:off x="8659860" y="5339108"/>
              <a:ext cx="2412000" cy="689518"/>
            </a:xfrm>
            <a:prstGeom prst="rect">
              <a:avLst/>
            </a:prstGeom>
            <a:solidFill>
              <a:schemeClr val="tx2">
                <a:alpha val="34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/>
                <a:t>Investment Recommendation</a:t>
              </a: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B15A71BC-FFFB-5F7B-4AA1-33A99A0A7D75}"/>
                </a:ext>
              </a:extLst>
            </p:cNvPr>
            <p:cNvSpPr/>
            <p:nvPr/>
          </p:nvSpPr>
          <p:spPr>
            <a:xfrm>
              <a:off x="6029690" y="5339108"/>
              <a:ext cx="2412000" cy="689518"/>
            </a:xfrm>
            <a:prstGeom prst="rect">
              <a:avLst/>
            </a:prstGeom>
            <a:solidFill>
              <a:schemeClr val="tx2">
                <a:alpha val="34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/>
                <a:t>LLM Background Explanation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7029527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536E74D-62AE-36A3-F6C3-65DD64BE40E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8DAFE654-A62A-5E60-609D-54D54A2B86E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38121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86" imgH="486" progId="TCLayout.ActiveDocument.1">
                  <p:embed/>
                </p:oleObj>
              </mc:Choice>
              <mc:Fallback>
                <p:oleObj name="think-cell Slide" r:id="rId6" imgW="486" imgH="48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DAFE654-A62A-5E60-609D-54D54A2B86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5D80E5A5-0C76-EA57-5024-47F0374AF8D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</p:spPr>
        <p:txBody>
          <a:bodyPr rtlCol="0"/>
          <a:lstStyle/>
          <a:p>
            <a:pPr rtl="0"/>
            <a:r>
              <a:rPr lang="en-US"/>
              <a:t>Q-Hack 25</a:t>
            </a:r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EF4BAE9-1DD7-8129-4B18-0668792EFE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 rtlCol="0"/>
          <a:lstStyle/>
          <a:p>
            <a:pPr rtl="0"/>
            <a:r>
              <a:rPr lang="de-DE"/>
              <a:t>disQover Pitch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E2C7290-3D18-58C0-32AD-E21DCCEB1D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 rtlCol="0"/>
          <a:lstStyle/>
          <a:p>
            <a:pPr rtl="0"/>
            <a:fld id="{A402E4C0-AD5E-4E8C-9F21-7CCE474BDCEB}" type="slidenum">
              <a:rPr lang="de-DE" smtClean="0"/>
              <a:pPr rtl="0"/>
              <a:t>7</a:t>
            </a:fld>
            <a:endParaRPr lang="de-DE"/>
          </a:p>
        </p:txBody>
      </p:sp>
      <p:sp>
        <p:nvSpPr>
          <p:cNvPr id="2" name="Titel 28">
            <a:extLst>
              <a:ext uri="{FF2B5EF4-FFF2-40B4-BE49-F238E27FC236}">
                <a16:creationId xmlns:a16="http://schemas.microsoft.com/office/drawing/2014/main" id="{ABA1F417-F4BB-2A1C-391D-1F3F86BF055F}"/>
              </a:ext>
            </a:extLst>
          </p:cNvPr>
          <p:cNvSpPr txBox="1">
            <a:spLocks/>
          </p:cNvSpPr>
          <p:nvPr/>
        </p:nvSpPr>
        <p:spPr>
          <a:xfrm>
            <a:off x="794508" y="519712"/>
            <a:ext cx="3106932" cy="36576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 u="none" strike="noStrike" cap="all" spc="400" normalizeH="0" baseline="0">
                <a:ln w="19050">
                  <a:solidFill>
                    <a:schemeClr val="accent5"/>
                  </a:solidFill>
                </a:ln>
                <a:noFill/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sz="2000">
                <a:ln w="19050">
                  <a:solidFill>
                    <a:schemeClr val="accent5">
                      <a:alpha val="70000"/>
                    </a:schemeClr>
                  </a:solidFill>
                </a:ln>
              </a:rPr>
              <a:t>SOLUTION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35B42309-F311-65B6-F73A-71078D4CBE2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-13566" y="7142715"/>
            <a:ext cx="2912868" cy="1345684"/>
          </a:xfrm>
          <a:prstGeom prst="rect">
            <a:avLst/>
          </a:prstGeom>
        </p:spPr>
      </p:pic>
      <p:pic>
        <p:nvPicPr>
          <p:cNvPr id="6" name="ByteMe Final">
            <a:hlinkClick r:id="" action="ppaction://media"/>
            <a:extLst>
              <a:ext uri="{FF2B5EF4-FFF2-40B4-BE49-F238E27FC236}">
                <a16:creationId xmlns:a16="http://schemas.microsoft.com/office/drawing/2014/main" id="{68995F11-F901-0EF0-2FC4-AD241612F806}"/>
              </a:ext>
            </a:extLst>
          </p:cNvPr>
          <p:cNvPicPr>
            <a:picLocks noChangeAspect="1"/>
          </p:cNvPicPr>
          <p:nvPr>
            <a:vide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9"/>
          <a:stretch>
            <a:fillRect/>
          </a:stretch>
        </p:blipFill>
        <p:spPr>
          <a:xfrm>
            <a:off x="1219200" y="889701"/>
            <a:ext cx="9753600" cy="548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09266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8785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>
                <p:cTn id="7" fill="hold" display="0">
                  <p:stCondLst>
                    <p:cond delay="indefinite"/>
                  </p:stCondLst>
                </p:cTn>
                <p:tgtEl>
                  <p:spTgt spid="6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"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24A2D9FA-18D3-47E6-6ADD-84BC093E519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C4EFF68-4272-7DBF-44CF-69F908161F0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07175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86" imgH="486" progId="TCLayout.ActiveDocument.1">
                  <p:embed/>
                </p:oleObj>
              </mc:Choice>
              <mc:Fallback>
                <p:oleObj name="think-cell Slide" r:id="rId4" imgW="486" imgH="4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C4EFF68-4272-7DBF-44CF-69F908161F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Datumsplatzhalter 47">
            <a:extLst>
              <a:ext uri="{FF2B5EF4-FFF2-40B4-BE49-F238E27FC236}">
                <a16:creationId xmlns:a16="http://schemas.microsoft.com/office/drawing/2014/main" id="{0E1A297B-CD6C-546D-D993-57200BD2345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</p:spPr>
        <p:txBody>
          <a:bodyPr rtlCol="0"/>
          <a:lstStyle/>
          <a:p>
            <a:pPr rtl="0"/>
            <a:r>
              <a:rPr lang="en-US"/>
              <a:t>Q-Hack 25</a:t>
            </a:r>
            <a:endParaRPr lang="de-DE"/>
          </a:p>
        </p:txBody>
      </p:sp>
      <p:sp>
        <p:nvSpPr>
          <p:cNvPr id="49" name="Fußzeilenplatzhalter 48">
            <a:extLst>
              <a:ext uri="{FF2B5EF4-FFF2-40B4-BE49-F238E27FC236}">
                <a16:creationId xmlns:a16="http://schemas.microsoft.com/office/drawing/2014/main" id="{51CE070E-9498-B2A3-0328-135A76CB12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 rtlCol="0"/>
          <a:lstStyle/>
          <a:p>
            <a:pPr rtl="0"/>
            <a:r>
              <a:rPr lang="de-DE"/>
              <a:t>disQover Pitch</a:t>
            </a:r>
          </a:p>
        </p:txBody>
      </p:sp>
      <p:sp>
        <p:nvSpPr>
          <p:cNvPr id="50" name="Foliennummernplatzhalter 49">
            <a:extLst>
              <a:ext uri="{FF2B5EF4-FFF2-40B4-BE49-F238E27FC236}">
                <a16:creationId xmlns:a16="http://schemas.microsoft.com/office/drawing/2014/main" id="{3F507834-0990-0C91-BE00-AAFDF5CF80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 rtlCol="0"/>
          <a:lstStyle/>
          <a:p>
            <a:pPr rtl="0"/>
            <a:fld id="{A402E4C0-AD5E-4E8C-9F21-7CCE474BDCEB}" type="slidenum">
              <a:rPr lang="de-DE" smtClean="0"/>
              <a:pPr rtl="0"/>
              <a:t>8</a:t>
            </a:fld>
            <a:endParaRPr lang="de-DE"/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A6D559DE-B719-B2F4-FD9D-125537980D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8450122" y="1794925"/>
            <a:ext cx="1595680" cy="584199"/>
          </a:xfrm>
          <a:prstGeom prst="rect">
            <a:avLst/>
          </a:prstGeom>
          <a:noFill/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de-DE"/>
          </a:p>
        </p:txBody>
      </p:sp>
      <p:sp>
        <p:nvSpPr>
          <p:cNvPr id="8" name="Titel 33">
            <a:extLst>
              <a:ext uri="{FF2B5EF4-FFF2-40B4-BE49-F238E27FC236}">
                <a16:creationId xmlns:a16="http://schemas.microsoft.com/office/drawing/2014/main" id="{01B8CB10-F3BA-00BA-B351-B404AFDA12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4507" y="989857"/>
            <a:ext cx="10559293" cy="469490"/>
          </a:xfrm>
        </p:spPr>
        <p:txBody>
          <a:bodyPr vert="horz" rtlCol="0">
            <a:normAutofit fontScale="90000"/>
          </a:bodyPr>
          <a:lstStyle/>
          <a:p>
            <a:pPr>
              <a:lnSpc>
                <a:spcPct val="100000"/>
              </a:lnSpc>
            </a:pPr>
            <a:r>
              <a:rPr lang="en-US" sz="2500">
                <a:ln w="19050">
                  <a:noFill/>
                </a:ln>
                <a:solidFill>
                  <a:schemeClr val="bg1"/>
                </a:solidFill>
              </a:rPr>
              <a:t>Lack of data and ai driven Evaluation tools </a:t>
            </a:r>
          </a:p>
        </p:txBody>
      </p:sp>
      <p:sp>
        <p:nvSpPr>
          <p:cNvPr id="9" name="Titel 28">
            <a:extLst>
              <a:ext uri="{FF2B5EF4-FFF2-40B4-BE49-F238E27FC236}">
                <a16:creationId xmlns:a16="http://schemas.microsoft.com/office/drawing/2014/main" id="{4664CF12-62CA-D8A3-81AD-59ADC9C8C5C7}"/>
              </a:ext>
            </a:extLst>
          </p:cNvPr>
          <p:cNvSpPr txBox="1">
            <a:spLocks/>
          </p:cNvSpPr>
          <p:nvPr/>
        </p:nvSpPr>
        <p:spPr>
          <a:xfrm>
            <a:off x="794508" y="519712"/>
            <a:ext cx="3106932" cy="36576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 u="none" strike="noStrike" cap="all" spc="400" normalizeH="0" baseline="0">
                <a:ln w="19050">
                  <a:solidFill>
                    <a:schemeClr val="accent5"/>
                  </a:solidFill>
                </a:ln>
                <a:noFill/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sz="2000">
                <a:ln w="19050">
                  <a:solidFill>
                    <a:schemeClr val="accent5">
                      <a:alpha val="70000"/>
                    </a:schemeClr>
                  </a:solidFill>
                </a:ln>
              </a:rPr>
              <a:t>Competition</a:t>
            </a:r>
          </a:p>
        </p:txBody>
      </p:sp>
      <p:grpSp>
        <p:nvGrpSpPr>
          <p:cNvPr id="56" name="Group 55">
            <a:extLst>
              <a:ext uri="{FF2B5EF4-FFF2-40B4-BE49-F238E27FC236}">
                <a16:creationId xmlns:a16="http://schemas.microsoft.com/office/drawing/2014/main" id="{1183673D-824E-8A0A-D149-1A37F433EBE2}"/>
              </a:ext>
            </a:extLst>
          </p:cNvPr>
          <p:cNvGrpSpPr/>
          <p:nvPr/>
        </p:nvGrpSpPr>
        <p:grpSpPr>
          <a:xfrm>
            <a:off x="794507" y="1794925"/>
            <a:ext cx="7513887" cy="4393355"/>
            <a:chOff x="794507" y="1794925"/>
            <a:chExt cx="7513887" cy="4393355"/>
          </a:xfrm>
        </p:grpSpPr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71EB29E9-122A-BC4E-AFD6-AD4F67A28FDD}"/>
                </a:ext>
              </a:extLst>
            </p:cNvPr>
            <p:cNvCxnSpPr>
              <a:cxnSpLocks/>
            </p:cNvCxnSpPr>
            <p:nvPr/>
          </p:nvCxnSpPr>
          <p:spPr>
            <a:xfrm>
              <a:off x="1548467" y="2379124"/>
              <a:ext cx="0" cy="3230546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76515AF7-9E7B-F091-40C1-8B660A90439C}"/>
                </a:ext>
              </a:extLst>
            </p:cNvPr>
            <p:cNvSpPr/>
            <p:nvPr/>
          </p:nvSpPr>
          <p:spPr>
            <a:xfrm>
              <a:off x="2513585" y="1948053"/>
              <a:ext cx="3074203" cy="3970148"/>
            </a:xfrm>
            <a:prstGeom prst="rect">
              <a:avLst/>
            </a:prstGeom>
            <a:solidFill>
              <a:schemeClr val="accent4">
                <a:alpha val="14000"/>
              </a:schemeClr>
            </a:solidFill>
            <a:ln w="12700" cap="flat" cmpd="sng" algn="ctr">
              <a:solidFill>
                <a:schemeClr val="bg1"/>
              </a:solidFill>
              <a:prstDash val="dash"/>
              <a:miter lim="800000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lIns="36000" tIns="288000" rIns="36000" bIns="108000" rtlCol="0" anchor="t">
              <a:normAutofit/>
            </a:bodyPr>
            <a:lstStyle/>
            <a:p>
              <a:pPr algn="ctr"/>
              <a:r>
                <a:rPr lang="en-US" b="1"/>
                <a:t>Pitch Feedback </a:t>
              </a:r>
              <a:br>
                <a:rPr lang="en-US" b="1"/>
              </a:br>
              <a:r>
                <a:rPr lang="en-US" b="1"/>
                <a:t>for Startups</a:t>
              </a:r>
            </a:p>
            <a:p>
              <a:pPr algn="ctr"/>
              <a:r>
                <a:rPr lang="en-US"/>
                <a:t>(mostly LLM based)</a:t>
              </a: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254FB30B-55C4-7670-9F1C-5FEA99A92A57}"/>
                </a:ext>
              </a:extLst>
            </p:cNvPr>
            <p:cNvSpPr/>
            <p:nvPr/>
          </p:nvSpPr>
          <p:spPr>
            <a:xfrm>
              <a:off x="5878203" y="1948053"/>
              <a:ext cx="2430191" cy="3970148"/>
            </a:xfrm>
            <a:prstGeom prst="rect">
              <a:avLst/>
            </a:prstGeom>
            <a:solidFill>
              <a:schemeClr val="accent4">
                <a:alpha val="14000"/>
              </a:schemeClr>
            </a:solidFill>
            <a:ln w="12700" cap="flat" cmpd="sng" algn="ctr">
              <a:solidFill>
                <a:schemeClr val="bg1"/>
              </a:solidFill>
              <a:prstDash val="dash"/>
              <a:miter lim="800000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lIns="108000" tIns="288000" rIns="108000" bIns="108000" rtlCol="0" anchor="t">
              <a:normAutofit/>
            </a:bodyPr>
            <a:lstStyle/>
            <a:p>
              <a:pPr algn="ctr"/>
              <a:r>
                <a:rPr lang="en-US" b="1"/>
                <a:t>Startup Overview </a:t>
              </a:r>
            </a:p>
            <a:p>
              <a:pPr algn="ctr"/>
              <a:r>
                <a:rPr lang="en-US" b="1"/>
                <a:t>for VCs </a:t>
              </a:r>
            </a:p>
            <a:p>
              <a:pPr algn="ctr"/>
              <a:r>
                <a:rPr lang="en-US"/>
                <a:t>(data based)</a:t>
              </a:r>
            </a:p>
          </p:txBody>
        </p:sp>
        <p:pic>
          <p:nvPicPr>
            <p:cNvPr id="14" name="Grafik 13" descr="Ein Bild, das Schrift, Logo, Grafiken, weiß enthält.&#10;&#10;KI-generierte Inhalte können fehlerhaft sein.">
              <a:extLst>
                <a:ext uri="{FF2B5EF4-FFF2-40B4-BE49-F238E27FC236}">
                  <a16:creationId xmlns:a16="http://schemas.microsoft.com/office/drawing/2014/main" id="{8BCA9E0A-7F31-8425-E1A6-EE9236F656D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2739680" y="3758435"/>
              <a:ext cx="1957852" cy="396000"/>
            </a:xfrm>
            <a:prstGeom prst="rect">
              <a:avLst/>
            </a:prstGeom>
          </p:spPr>
        </p:pic>
        <p:pic>
          <p:nvPicPr>
            <p:cNvPr id="15" name="Grafik 14" descr="Ein Bild, das Schrift, Grafiken, Logo, Symbol enthält.&#10;&#10;KI-generierte Inhalte können fehlerhaft sein.">
              <a:extLst>
                <a:ext uri="{FF2B5EF4-FFF2-40B4-BE49-F238E27FC236}">
                  <a16:creationId xmlns:a16="http://schemas.microsoft.com/office/drawing/2014/main" id="{CE56C3BF-4792-4240-20B5-2DBD1269663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739680" y="4285842"/>
              <a:ext cx="1400319" cy="396000"/>
            </a:xfrm>
            <a:prstGeom prst="rect">
              <a:avLst/>
            </a:prstGeom>
          </p:spPr>
        </p:pic>
        <p:pic>
          <p:nvPicPr>
            <p:cNvPr id="20" name="Grafik 19" descr="Ein Bild, das Schrift, Grafiken, Logo, Grafikdesign enthält.&#10;&#10;KI-generierte Inhalte können fehlerhaft sein.">
              <a:extLst>
                <a:ext uri="{FF2B5EF4-FFF2-40B4-BE49-F238E27FC236}">
                  <a16:creationId xmlns:a16="http://schemas.microsoft.com/office/drawing/2014/main" id="{E9F8FE05-A711-CFBE-2059-100509DBDCF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2739680" y="3260390"/>
              <a:ext cx="1372532" cy="396000"/>
            </a:xfrm>
            <a:prstGeom prst="rect">
              <a:avLst/>
            </a:prstGeom>
          </p:spPr>
        </p:pic>
        <p:pic>
          <p:nvPicPr>
            <p:cNvPr id="2" name="Grafik 1" descr="Ein Bild, das Schrift, Grafiken, Electric Blue (Farbe), Logo enthält.&#10;&#10;KI-generierte Inhalte können fehlerhaft sein.">
              <a:extLst>
                <a:ext uri="{FF2B5EF4-FFF2-40B4-BE49-F238E27FC236}">
                  <a16:creationId xmlns:a16="http://schemas.microsoft.com/office/drawing/2014/main" id="{6ACBFE5E-269D-61AC-043B-1D817A76A6D5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4078855" y="4795975"/>
              <a:ext cx="1161760" cy="396000"/>
            </a:xfrm>
            <a:prstGeom prst="rect">
              <a:avLst/>
            </a:prstGeom>
          </p:spPr>
        </p:pic>
        <p:pic>
          <p:nvPicPr>
            <p:cNvPr id="12" name="Grafik 11" descr="Ein Bild, das Schrift, Grafiken, Text, Logo enthält.&#10;&#10;KI-generierte Inhalte können fehlerhaft sein.">
              <a:extLst>
                <a:ext uri="{FF2B5EF4-FFF2-40B4-BE49-F238E27FC236}">
                  <a16:creationId xmlns:a16="http://schemas.microsoft.com/office/drawing/2014/main" id="{3CA005E6-259D-33C0-7F49-56A1EA128B30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2739680" y="5334485"/>
              <a:ext cx="1642782" cy="396000"/>
            </a:xfrm>
            <a:prstGeom prst="rect">
              <a:avLst/>
            </a:prstGeom>
          </p:spPr>
        </p:pic>
        <p:pic>
          <p:nvPicPr>
            <p:cNvPr id="3" name="Grafik 2" descr="Ein Bild, das Schrift, Logo, Electric Blue (Farbe), weiß enthält.&#10;&#10;KI-generierte Inhalte können fehlerhaft sein.">
              <a:extLst>
                <a:ext uri="{FF2B5EF4-FFF2-40B4-BE49-F238E27FC236}">
                  <a16:creationId xmlns:a16="http://schemas.microsoft.com/office/drawing/2014/main" id="{CFAD2C47-F8FA-7B83-486F-98CD3F3E4CA2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4210321" y="4285842"/>
              <a:ext cx="921026" cy="396000"/>
            </a:xfrm>
            <a:prstGeom prst="rect">
              <a:avLst/>
            </a:prstGeom>
          </p:spPr>
        </p:pic>
        <p:pic>
          <p:nvPicPr>
            <p:cNvPr id="7" name="Grafik 6" descr="Ein Bild, das Schrift, Text, Logo, Grafiken enthält.&#10;&#10;KI-generierte Inhalte können fehlerhaft sein.">
              <a:extLst>
                <a:ext uri="{FF2B5EF4-FFF2-40B4-BE49-F238E27FC236}">
                  <a16:creationId xmlns:a16="http://schemas.microsoft.com/office/drawing/2014/main" id="{5A41E2EE-6B32-1096-B674-7EDA2264FA34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rcRect l="717" r="39180"/>
            <a:stretch/>
          </p:blipFill>
          <p:spPr>
            <a:xfrm>
              <a:off x="2754607" y="4800907"/>
              <a:ext cx="1253513" cy="396000"/>
            </a:xfrm>
            <a:prstGeom prst="rect">
              <a:avLst/>
            </a:prstGeom>
          </p:spPr>
        </p:pic>
        <p:pic>
          <p:nvPicPr>
            <p:cNvPr id="21" name="Grafik 20" descr="Ein Bild, das Schrift, Typografie, Logo, Grafiken enthält.&#10;&#10;KI-generierte Inhalte können fehlerhaft sein.">
              <a:extLst>
                <a:ext uri="{FF2B5EF4-FFF2-40B4-BE49-F238E27FC236}">
                  <a16:creationId xmlns:a16="http://schemas.microsoft.com/office/drawing/2014/main" id="{48DCFD44-F917-8BFD-3FE3-39EB1B6DE62F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6119032" y="4599132"/>
              <a:ext cx="1649285" cy="396000"/>
            </a:xfrm>
            <a:prstGeom prst="rect">
              <a:avLst/>
            </a:prstGeom>
          </p:spPr>
        </p:pic>
        <p:pic>
          <p:nvPicPr>
            <p:cNvPr id="23" name="Grafik 22" descr="Crunchbase Adds Real-Time Updates with Stream’s Activity Feed API">
              <a:extLst>
                <a:ext uri="{FF2B5EF4-FFF2-40B4-BE49-F238E27FC236}">
                  <a16:creationId xmlns:a16="http://schemas.microsoft.com/office/drawing/2014/main" id="{11DC3623-CC26-9CFE-C950-587341042B60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rcRect l="6615" t="30488" r="4397" b="24390"/>
            <a:stretch/>
          </p:blipFill>
          <p:spPr>
            <a:xfrm>
              <a:off x="6092757" y="3991125"/>
              <a:ext cx="1571434" cy="396000"/>
            </a:xfrm>
            <a:prstGeom prst="rect">
              <a:avLst/>
            </a:prstGeom>
          </p:spPr>
        </p:pic>
        <p:pic>
          <p:nvPicPr>
            <p:cNvPr id="5" name="Grafik 4">
              <a:extLst>
                <a:ext uri="{FF2B5EF4-FFF2-40B4-BE49-F238E27FC236}">
                  <a16:creationId xmlns:a16="http://schemas.microsoft.com/office/drawing/2014/main" id="{C4681BC6-79C8-D7CC-0788-064086319F9B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6119032" y="3437897"/>
              <a:ext cx="1336896" cy="396000"/>
            </a:xfrm>
            <a:prstGeom prst="rect">
              <a:avLst/>
            </a:prstGeom>
          </p:spPr>
        </p:pic>
        <p:pic>
          <p:nvPicPr>
            <p:cNvPr id="24" name="Grafik 23">
              <a:extLst>
                <a:ext uri="{FF2B5EF4-FFF2-40B4-BE49-F238E27FC236}">
                  <a16:creationId xmlns:a16="http://schemas.microsoft.com/office/drawing/2014/main" id="{39B08DA1-25CB-6780-51A9-CDA2FD6F19A1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6119032" y="5213670"/>
              <a:ext cx="1412214" cy="396000"/>
            </a:xfrm>
            <a:prstGeom prst="rect">
              <a:avLst/>
            </a:prstGeom>
          </p:spPr>
        </p:pic>
        <p:pic>
          <p:nvPicPr>
            <p:cNvPr id="2050" name="Picture 2">
              <a:extLst>
                <a:ext uri="{FF2B5EF4-FFF2-40B4-BE49-F238E27FC236}">
                  <a16:creationId xmlns:a16="http://schemas.microsoft.com/office/drawing/2014/main" id="{F04AD447-EBBD-E4EE-FE0B-62C2213EF47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83362" y="3260390"/>
              <a:ext cx="398200" cy="396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D9A77593-23C5-6A34-14F7-5CB9DC7C2238}"/>
                </a:ext>
              </a:extLst>
            </p:cNvPr>
            <p:cNvSpPr txBox="1"/>
            <p:nvPr/>
          </p:nvSpPr>
          <p:spPr>
            <a:xfrm>
              <a:off x="975530" y="1794925"/>
              <a:ext cx="1145874" cy="469490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rmAutofit/>
            </a:bodyPr>
            <a:lstStyle>
              <a:lvl1pPr indent="0" algn="ctr">
                <a:lnSpc>
                  <a:spcPct val="10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1200" b="1" cap="all" spc="200" baseline="0">
                  <a:solidFill>
                    <a:schemeClr val="accent5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685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r>
                <a:rPr lang="en-US"/>
                <a:t>PAYABLE</a:t>
              </a:r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0935A740-E846-AF55-A03C-28D4A46588EE}"/>
                </a:ext>
              </a:extLst>
            </p:cNvPr>
            <p:cNvSpPr txBox="1"/>
            <p:nvPr/>
          </p:nvSpPr>
          <p:spPr>
            <a:xfrm>
              <a:off x="794507" y="5718790"/>
              <a:ext cx="1507920" cy="469490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rmAutofit/>
            </a:bodyPr>
            <a:lstStyle>
              <a:lvl1pPr indent="0" algn="ctr">
                <a:lnSpc>
                  <a:spcPct val="10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1200" b="1" cap="all" spc="200" baseline="0">
                  <a:solidFill>
                    <a:schemeClr val="accent5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685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r>
                <a:rPr lang="en-US"/>
                <a:t>Expensive</a:t>
              </a: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5D79D2DF-22AD-4A31-679B-6BE4817AE801}"/>
              </a:ext>
            </a:extLst>
          </p:cNvPr>
          <p:cNvGrpSpPr/>
          <p:nvPr/>
        </p:nvGrpSpPr>
        <p:grpSpPr>
          <a:xfrm>
            <a:off x="2372344" y="1794925"/>
            <a:ext cx="8961523" cy="4276404"/>
            <a:chOff x="2372344" y="1794925"/>
            <a:chExt cx="8961523" cy="4276404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041B7BEE-9B3A-7105-94A0-CAFB3BE4B2B9}"/>
                </a:ext>
              </a:extLst>
            </p:cNvPr>
            <p:cNvSpPr/>
            <p:nvPr/>
          </p:nvSpPr>
          <p:spPr>
            <a:xfrm>
              <a:off x="2372344" y="1794925"/>
              <a:ext cx="8961523" cy="4276404"/>
            </a:xfrm>
            <a:prstGeom prst="rect">
              <a:avLst/>
            </a:prstGeom>
            <a:solidFill>
              <a:schemeClr val="accent1">
                <a:lumMod val="50000"/>
                <a:alpha val="43000"/>
              </a:schemeClr>
            </a:solidFill>
            <a:ln w="12700" cap="flat" cmpd="sng" algn="ctr">
              <a:solidFill>
                <a:schemeClr val="bg1"/>
              </a:solidFill>
              <a:prstDash val="dash"/>
              <a:miter lim="800000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lIns="108000" tIns="288000" rIns="108000" bIns="108000" rtlCol="0" anchor="t">
              <a:normAutofit/>
            </a:bodyPr>
            <a:lstStyle/>
            <a:p>
              <a:pPr algn="ctr"/>
              <a:endParaRPr lang="en-US"/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63C8DDD8-DCA2-2C7B-1FDD-E27DF177D5B9}"/>
                </a:ext>
              </a:extLst>
            </p:cNvPr>
            <p:cNvSpPr txBox="1"/>
            <p:nvPr/>
          </p:nvSpPr>
          <p:spPr>
            <a:xfrm>
              <a:off x="8588604" y="2247000"/>
              <a:ext cx="2449424" cy="83099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b="1">
                  <a:solidFill>
                    <a:schemeClr val="bg1"/>
                  </a:solidFill>
                </a:rPr>
                <a:t>Startup Overview and Evaluation for VCs </a:t>
              </a:r>
            </a:p>
            <a:p>
              <a:pPr algn="ctr"/>
              <a:r>
                <a:rPr lang="en-US">
                  <a:solidFill>
                    <a:schemeClr val="bg1"/>
                  </a:solidFill>
                </a:rPr>
                <a:t>(data and LLM based)</a:t>
              </a: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A8C70323-A941-09A4-DA73-FF36B25CE5D9}"/>
                </a:ext>
              </a:extLst>
            </p:cNvPr>
            <p:cNvSpPr txBox="1"/>
            <p:nvPr/>
          </p:nvSpPr>
          <p:spPr>
            <a:xfrm>
              <a:off x="8672967" y="4616205"/>
              <a:ext cx="2280698" cy="1107996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algn="ctr"/>
              <a:r>
                <a:rPr lang="en-US">
                  <a:solidFill>
                    <a:schemeClr val="bg1"/>
                  </a:solidFill>
                </a:rPr>
                <a:t>Best of both worlds</a:t>
              </a:r>
            </a:p>
            <a:p>
              <a:pPr algn="ctr"/>
              <a:endParaRPr lang="en-US">
                <a:solidFill>
                  <a:schemeClr val="bg1"/>
                </a:solidFill>
              </a:endParaRPr>
            </a:p>
            <a:p>
              <a:pPr algn="ctr"/>
              <a:r>
                <a:rPr lang="en-US">
                  <a:solidFill>
                    <a:schemeClr val="bg1"/>
                  </a:solidFill>
                </a:rPr>
                <a:t>USP: Based on actual data, not just LLMs</a:t>
              </a: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8756EDC9-853C-EAE0-0738-74970FC70700}"/>
                </a:ext>
              </a:extLst>
            </p:cNvPr>
            <p:cNvSpPr/>
            <p:nvPr/>
          </p:nvSpPr>
          <p:spPr>
            <a:xfrm>
              <a:off x="8631497" y="3450468"/>
              <a:ext cx="2322168" cy="809482"/>
            </a:xfrm>
            <a:prstGeom prst="rect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3200" b="1"/>
                <a:t>DISQOVER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404579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89F6E922-954B-1370-6E26-C9F0AAD118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A5FE95E0-2CA1-672B-F8F2-7BB5F8564C5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86" imgH="486" progId="TCLayout.ActiveDocument.1">
                  <p:embed/>
                </p:oleObj>
              </mc:Choice>
              <mc:Fallback>
                <p:oleObj name="think-cell Slide" r:id="rId4" imgW="486" imgH="48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FE95E0-2CA1-672B-F8F2-7BB5F8564C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el 33">
            <a:extLst>
              <a:ext uri="{FF2B5EF4-FFF2-40B4-BE49-F238E27FC236}">
                <a16:creationId xmlns:a16="http://schemas.microsoft.com/office/drawing/2014/main" id="{56A5AB6B-AD28-544C-6D58-E250C84B3FF8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794508" y="990600"/>
            <a:ext cx="9317038" cy="468313"/>
          </a:xfrm>
        </p:spPr>
        <p:txBody>
          <a:bodyPr vert="horz" rtlCol="0">
            <a:normAutofit fontScale="90000"/>
          </a:bodyPr>
          <a:lstStyle/>
          <a:p>
            <a:pPr>
              <a:lnSpc>
                <a:spcPct val="100000"/>
              </a:lnSpc>
            </a:pPr>
            <a:r>
              <a:rPr lang="en-US" sz="2500">
                <a:ln w="19050">
                  <a:noFill/>
                </a:ln>
                <a:solidFill>
                  <a:schemeClr val="bg1"/>
                </a:solidFill>
              </a:rPr>
              <a:t>The market is huge and allows to scale </a:t>
            </a:r>
          </a:p>
        </p:txBody>
      </p:sp>
      <p:sp>
        <p:nvSpPr>
          <p:cNvPr id="14" name="Titel 28">
            <a:extLst>
              <a:ext uri="{FF2B5EF4-FFF2-40B4-BE49-F238E27FC236}">
                <a16:creationId xmlns:a16="http://schemas.microsoft.com/office/drawing/2014/main" id="{61284A47-E7F1-4C9F-7FBD-9442F192E284}"/>
              </a:ext>
            </a:extLst>
          </p:cNvPr>
          <p:cNvSpPr txBox="1">
            <a:spLocks/>
          </p:cNvSpPr>
          <p:nvPr/>
        </p:nvSpPr>
        <p:spPr>
          <a:xfrm>
            <a:off x="794508" y="519712"/>
            <a:ext cx="3106932" cy="36576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 u="none" strike="noStrike" cap="all" spc="400" normalizeH="0" baseline="0">
                <a:ln w="19050">
                  <a:solidFill>
                    <a:schemeClr val="accent5"/>
                  </a:solidFill>
                </a:ln>
                <a:noFill/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sz="2000">
                <a:ln w="19050">
                  <a:solidFill>
                    <a:schemeClr val="accent5">
                      <a:alpha val="70000"/>
                    </a:schemeClr>
                  </a:solidFill>
                </a:ln>
              </a:rPr>
              <a:t>Market</a:t>
            </a:r>
          </a:p>
        </p:txBody>
      </p:sp>
      <p:sp>
        <p:nvSpPr>
          <p:cNvPr id="27" name="Date Placeholder 26">
            <a:extLst>
              <a:ext uri="{FF2B5EF4-FFF2-40B4-BE49-F238E27FC236}">
                <a16:creationId xmlns:a16="http://schemas.microsoft.com/office/drawing/2014/main" id="{13A41B6D-1164-B22A-520F-D0A14ADA64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rtl="0"/>
            <a:r>
              <a:rPr lang="en-US" noProof="0"/>
              <a:t>Q-Hack 25</a:t>
            </a:r>
            <a:endParaRPr lang="de-DE" noProof="0"/>
          </a:p>
        </p:txBody>
      </p:sp>
      <p:sp>
        <p:nvSpPr>
          <p:cNvPr id="28" name="Footer Placeholder 27">
            <a:extLst>
              <a:ext uri="{FF2B5EF4-FFF2-40B4-BE49-F238E27FC236}">
                <a16:creationId xmlns:a16="http://schemas.microsoft.com/office/drawing/2014/main" id="{3939402B-6524-5DA6-3C38-3B2334824C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rtl="0"/>
            <a:r>
              <a:rPr lang="de-DE" noProof="0"/>
              <a:t>disQover Pitch</a:t>
            </a:r>
          </a:p>
        </p:txBody>
      </p:sp>
      <p:sp>
        <p:nvSpPr>
          <p:cNvPr id="29" name="Slide Number Placeholder 28">
            <a:extLst>
              <a:ext uri="{FF2B5EF4-FFF2-40B4-BE49-F238E27FC236}">
                <a16:creationId xmlns:a16="http://schemas.microsoft.com/office/drawing/2014/main" id="{1D65F62C-E97D-433D-02CC-DFFAED247D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rtl="0"/>
            <a:fld id="{A402E4C0-AD5E-4E8C-9F21-7CCE474BDCEB}" type="slidenum">
              <a:rPr lang="de-DE" noProof="0" smtClean="0"/>
              <a:t>9</a:t>
            </a:fld>
            <a:endParaRPr lang="de-DE" noProof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46FBB861-4A39-BFB3-7EC9-842CFDB141F0}"/>
              </a:ext>
            </a:extLst>
          </p:cNvPr>
          <p:cNvGrpSpPr/>
          <p:nvPr/>
        </p:nvGrpSpPr>
        <p:grpSpPr>
          <a:xfrm>
            <a:off x="794508" y="1875099"/>
            <a:ext cx="10559292" cy="4293388"/>
            <a:chOff x="794508" y="1875099"/>
            <a:chExt cx="10559292" cy="4293388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29865DF6-FC85-F89A-E0C0-9A351C9A48C7}"/>
                </a:ext>
              </a:extLst>
            </p:cNvPr>
            <p:cNvSpPr/>
            <p:nvPr/>
          </p:nvSpPr>
          <p:spPr>
            <a:xfrm>
              <a:off x="794508" y="1875099"/>
              <a:ext cx="3519764" cy="4293388"/>
            </a:xfrm>
            <a:prstGeom prst="rect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B0CF3E4C-C8B7-5140-7454-468F540E4ACF}"/>
                </a:ext>
              </a:extLst>
            </p:cNvPr>
            <p:cNvSpPr/>
            <p:nvPr/>
          </p:nvSpPr>
          <p:spPr>
            <a:xfrm>
              <a:off x="4314272" y="3267949"/>
              <a:ext cx="3519764" cy="2900537"/>
            </a:xfrm>
            <a:prstGeom prst="rect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C917E905-97E3-AFBE-6296-2217624B4694}"/>
                </a:ext>
              </a:extLst>
            </p:cNvPr>
            <p:cNvSpPr/>
            <p:nvPr/>
          </p:nvSpPr>
          <p:spPr>
            <a:xfrm>
              <a:off x="7834036" y="4115111"/>
              <a:ext cx="3519764" cy="2053376"/>
            </a:xfrm>
            <a:prstGeom prst="rect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D4F79C2C-205F-1293-D3FA-8C1CF7A27AF8}"/>
                </a:ext>
              </a:extLst>
            </p:cNvPr>
            <p:cNvSpPr txBox="1"/>
            <p:nvPr/>
          </p:nvSpPr>
          <p:spPr>
            <a:xfrm>
              <a:off x="1209416" y="2341732"/>
              <a:ext cx="2758439" cy="1446550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/>
              <a:r>
                <a:rPr lang="en-US" sz="2000" b="1">
                  <a:solidFill>
                    <a:schemeClr val="bg1"/>
                  </a:solidFill>
                </a:rPr>
                <a:t>TAM</a:t>
              </a:r>
              <a:br>
                <a:rPr lang="en-US" sz="2000" b="1">
                  <a:solidFill>
                    <a:schemeClr val="bg1"/>
                  </a:solidFill>
                </a:rPr>
              </a:br>
              <a:r>
                <a:rPr lang="en-US" sz="2000" b="1">
                  <a:solidFill>
                    <a:schemeClr val="bg1"/>
                  </a:solidFill>
                </a:rPr>
                <a:t>$</a:t>
              </a:r>
              <a:r>
                <a:rPr lang="en-US" sz="3600" b="1">
                  <a:solidFill>
                    <a:schemeClr val="bg1"/>
                  </a:solidFill>
                </a:rPr>
                <a:t>801.8m </a:t>
              </a:r>
            </a:p>
            <a:p>
              <a:pPr algn="l"/>
              <a:endParaRPr lang="en-US" sz="2000" b="1">
                <a:solidFill>
                  <a:schemeClr val="bg1"/>
                </a:solidFill>
              </a:endParaRPr>
            </a:p>
            <a:p>
              <a:pPr algn="l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9A4D09B6-A143-74D3-8B59-DDE60A4DCB4B}"/>
                </a:ext>
              </a:extLst>
            </p:cNvPr>
            <p:cNvSpPr txBox="1"/>
            <p:nvPr/>
          </p:nvSpPr>
          <p:spPr>
            <a:xfrm>
              <a:off x="4704081" y="3619005"/>
              <a:ext cx="3119717" cy="116955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/>
              <a:r>
                <a:rPr lang="en-US" sz="2000" b="1">
                  <a:solidFill>
                    <a:schemeClr val="bg1"/>
                  </a:solidFill>
                </a:rPr>
                <a:t>SAM</a:t>
              </a:r>
              <a:br>
                <a:rPr lang="en-US" sz="2000" b="1">
                  <a:solidFill>
                    <a:schemeClr val="bg1"/>
                  </a:solidFill>
                </a:rPr>
              </a:br>
              <a:r>
                <a:rPr lang="en-US" sz="2000" b="1">
                  <a:solidFill>
                    <a:schemeClr val="bg1"/>
                  </a:solidFill>
                </a:rPr>
                <a:t>$</a:t>
              </a:r>
              <a:r>
                <a:rPr lang="en-US" sz="3600" b="1">
                  <a:solidFill>
                    <a:schemeClr val="bg1"/>
                  </a:solidFill>
                </a:rPr>
                <a:t>120.3m </a:t>
              </a:r>
            </a:p>
            <a:p>
              <a:pPr algn="l"/>
              <a:endParaRPr lang="en-US" sz="2000" b="1">
                <a:solidFill>
                  <a:schemeClr val="bg1"/>
                </a:solidFill>
              </a:endParaRP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6B974DE9-8B9F-3038-2919-196D9E593904}"/>
                </a:ext>
              </a:extLst>
            </p:cNvPr>
            <p:cNvSpPr txBox="1"/>
            <p:nvPr/>
          </p:nvSpPr>
          <p:spPr>
            <a:xfrm>
              <a:off x="8153401" y="4357835"/>
              <a:ext cx="1474763" cy="954107"/>
            </a:xfrm>
            <a:prstGeom prst="rect">
              <a:avLst/>
            </a:prstGeom>
            <a:noFill/>
          </p:spPr>
          <p:txBody>
            <a:bodyPr wrap="none" lIns="0" tIns="0" rIns="0" bIns="0" rtlCol="0" anchor="t">
              <a:spAutoFit/>
            </a:bodyPr>
            <a:lstStyle/>
            <a:p>
              <a:pPr algn="l"/>
              <a:r>
                <a:rPr lang="en-US" sz="2000" b="1">
                  <a:solidFill>
                    <a:schemeClr val="bg1"/>
                  </a:solidFill>
                </a:rPr>
                <a:t>SOM</a:t>
              </a:r>
              <a:br>
                <a:rPr lang="en-US" sz="2000" b="1">
                  <a:solidFill>
                    <a:schemeClr val="bg1"/>
                  </a:solidFill>
                </a:rPr>
              </a:br>
              <a:r>
                <a:rPr lang="en-US" sz="2000" b="1">
                  <a:solidFill>
                    <a:schemeClr val="bg1"/>
                  </a:solidFill>
                </a:rPr>
                <a:t>$</a:t>
              </a:r>
              <a:r>
                <a:rPr lang="en-US" sz="3600" b="1">
                  <a:solidFill>
                    <a:schemeClr val="bg1"/>
                  </a:solidFill>
                </a:rPr>
                <a:t>18.0m</a:t>
              </a:r>
            </a:p>
            <a:p>
              <a:pPr algn="l"/>
              <a:r>
                <a:rPr lang="en-US" sz="600" b="1">
                  <a:solidFill>
                    <a:schemeClr val="bg1"/>
                  </a:solidFill>
                </a:rPr>
                <a:t> </a:t>
              </a:r>
            </a:p>
          </p:txBody>
        </p:sp>
        <p:sp>
          <p:nvSpPr>
            <p:cNvPr id="2" name="TextBox 1">
              <a:extLst>
                <a:ext uri="{FF2B5EF4-FFF2-40B4-BE49-F238E27FC236}">
                  <a16:creationId xmlns:a16="http://schemas.microsoft.com/office/drawing/2014/main" id="{DD491CE9-FBFE-179A-4009-D2EF67FB6E29}"/>
                </a:ext>
              </a:extLst>
            </p:cNvPr>
            <p:cNvSpPr txBox="1"/>
            <p:nvPr/>
          </p:nvSpPr>
          <p:spPr>
            <a:xfrm>
              <a:off x="4704080" y="4950219"/>
              <a:ext cx="2253822" cy="923330"/>
            </a:xfrm>
            <a:prstGeom prst="rect">
              <a:avLst/>
            </a:prstGeom>
            <a:noFill/>
          </p:spPr>
          <p:txBody>
            <a:bodyPr wrap="non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Bierstadt"/>
                  <a:ea typeface="+mn-ea"/>
                  <a:cs typeface="+mn-cs"/>
                </a:rPr>
                <a:t>Evaluation Tool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ierstadt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Bierstadt"/>
                  <a:ea typeface="+mn-ea"/>
                  <a:cs typeface="+mn-cs"/>
                </a:rPr>
                <a:t>Worldwide Adoption</a:t>
              </a:r>
            </a:p>
          </p:txBody>
        </p: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C254332D-116C-1FA0-1892-4235F01D6C91}"/>
                </a:ext>
              </a:extLst>
            </p:cNvPr>
            <p:cNvSpPr txBox="1"/>
            <p:nvPr/>
          </p:nvSpPr>
          <p:spPr>
            <a:xfrm>
              <a:off x="8153400" y="5342110"/>
              <a:ext cx="2395528" cy="615553"/>
            </a:xfrm>
            <a:prstGeom prst="rect">
              <a:avLst/>
            </a:prstGeom>
            <a:noFill/>
          </p:spPr>
          <p:txBody>
            <a:bodyPr wrap="non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Bierstadt"/>
                  <a:ea typeface="+mn-ea"/>
                  <a:cs typeface="+mn-cs"/>
                </a:rPr>
                <a:t>Evaluation Tool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Bierstadt"/>
                  <a:ea typeface="+mn-ea"/>
                  <a:cs typeface="+mn-cs"/>
                </a:rPr>
                <a:t>Adoption in Germany </a:t>
              </a:r>
            </a:p>
          </p:txBody>
        </p: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E995B6E6-E68D-8EB8-16EE-DB6B98E7257E}"/>
                </a:ext>
              </a:extLst>
            </p:cNvPr>
            <p:cNvSpPr txBox="1"/>
            <p:nvPr/>
          </p:nvSpPr>
          <p:spPr>
            <a:xfrm>
              <a:off x="1209416" y="4488554"/>
              <a:ext cx="2689792" cy="1384995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Bierstadt"/>
                  <a:ea typeface="+mn-ea"/>
                  <a:cs typeface="+mn-cs"/>
                </a:rPr>
                <a:t>Full VC Suite incl. Evaluation, Outreach, Market Reports, Tax…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ierstadt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Bierstadt"/>
                  <a:ea typeface="+mn-ea"/>
                  <a:cs typeface="+mn-cs"/>
                </a:rPr>
                <a:t>Worldwide Adoption</a:t>
              </a: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ierstad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241285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Design">
  <a:themeElements>
    <a:clrScheme name="Custom 24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7A1380"/>
      </a:accent1>
      <a:accent2>
        <a:srgbClr val="0C1A69"/>
      </a:accent2>
      <a:accent3>
        <a:srgbClr val="F4292E"/>
      </a:accent3>
      <a:accent4>
        <a:srgbClr val="FD49C1"/>
      </a:accent4>
      <a:accent5>
        <a:srgbClr val="15C7C7"/>
      </a:accent5>
      <a:accent6>
        <a:srgbClr val="02DCFA"/>
      </a:accent6>
      <a:hlink>
        <a:srgbClr val="0563C1"/>
      </a:hlink>
      <a:folHlink>
        <a:srgbClr val="954F72"/>
      </a:folHlink>
    </a:clrScheme>
    <a:fontScheme name="Custom 31">
      <a:majorFont>
        <a:latin typeface="Posterama Bold"/>
        <a:ea typeface=""/>
        <a:cs typeface=""/>
      </a:majorFont>
      <a:minorFont>
        <a:latin typeface="Bierstad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solidFill>
            <a:schemeClr val="bg1"/>
          </a:solidFill>
        </a:ln>
      </a:spPr>
      <a:bodyPr rtlCol="0" anchor="t"/>
      <a:lstStyle>
        <a:defPPr algn="ctr">
          <a:defRPr sz="2000" b="1" dirty="0" smtClean="0"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600" dirty="0" smtClean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_60456505_TF33781529_Win32" id="{ABD14534-2C3E-48E3-9A76-5BE81590F7C2}" vid="{E6C0E7D3-6188-40D7-9BA0-5ED17575AE60}"/>
    </a:ext>
  </a:extLst>
</a:theme>
</file>

<file path=ppt/theme/theme2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9F111ED35F8CC479449609E8A0923A6" ma:contentTypeVersion="22" ma:contentTypeDescription="Create a new document." ma:contentTypeScope="" ma:versionID="5a5774fd28510f591f3d0476b60c7965">
  <xsd:schema xmlns:xsd="http://www.w3.org/2001/XMLSchema" xmlns:xs="http://www.w3.org/2001/XMLSchema" xmlns:p="http://schemas.microsoft.com/office/2006/metadata/properties" xmlns:ns1="http://schemas.microsoft.com/sharepoint/v3" xmlns:ns2="71af3243-3dd4-4a8d-8c0d-dd76da1f02a5" xmlns:ns3="16c05727-aa75-4e4a-9b5f-8a80a1165891" xmlns:ns4="230e9df3-be65-4c73-a93b-d1236ebd677e" targetNamespace="http://schemas.microsoft.com/office/2006/metadata/properties" ma:root="true" ma:fieldsID="3656ce980f6f53fc96333c5ee30c32b6" ns1:_="" ns2:_="" ns3:_="" ns4:_="">
    <xsd:import namespace="http://schemas.microsoft.com/sharepoint/v3"/>
    <xsd:import namespace="71af3243-3dd4-4a8d-8c0d-dd76da1f02a5"/>
    <xsd:import namespace="16c05727-aa75-4e4a-9b5f-8a80a1165891"/>
    <xsd:import namespace="230e9df3-be65-4c73-a93b-d1236ebd677e"/>
    <xsd:element name="properties">
      <xsd:complexType>
        <xsd:sequence>
          <xsd:element name="documentManagement">
            <xsd:complexType>
              <xsd:all>
                <xsd:element ref="ns2:Status" minOccurs="0"/>
                <xsd:element ref="ns2:Image" minOccurs="0"/>
                <xsd:element ref="ns2:MediaServiceMetadata" minOccurs="0"/>
                <xsd:element ref="ns2:MediaServiceFastMetadata" minOccurs="0"/>
                <xsd:element ref="ns2:MediaServiceOCR" minOccurs="0"/>
                <xsd:element ref="ns2:MediaServiceAutoTags" minOccurs="0"/>
                <xsd:element ref="ns2:MediaServiceEventHashCode" minOccurs="0"/>
                <xsd:element ref="ns2:MediaServiceGenerationTime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1:_ip_UnifiedCompliancePolicyProperties" minOccurs="0"/>
                <xsd:element ref="ns1:_ip_UnifiedCompliancePolicyUIAction" minOccurs="0"/>
                <xsd:element ref="ns4:TaxCatchAll" minOccurs="0"/>
                <xsd:element ref="ns2:ImageTagsTaxHTField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0" nillable="true" ma:displayName="Unified Compliance Policy Properties" ma:hidden="true" ma:internalName="_ip_UnifiedCompliancePolicyProperties" ma:readOnly="false">
      <xsd:simpleType>
        <xsd:restriction base="dms:Note"/>
      </xsd:simpleType>
    </xsd:element>
    <xsd:element name="_ip_UnifiedCompliancePolicyUIAction" ma:index="21" nillable="true" ma:displayName="Unified Compliance Policy UI Action" ma:hidden="true" ma:internalName="_ip_UnifiedCompliancePolicyUIAction" ma:readOnly="fals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1af3243-3dd4-4a8d-8c0d-dd76da1f02a5" elementFormDefault="qualified">
    <xsd:import namespace="http://schemas.microsoft.com/office/2006/documentManagement/types"/>
    <xsd:import namespace="http://schemas.microsoft.com/office/infopath/2007/PartnerControls"/>
    <xsd:element name="Status" ma:index="2" nillable="true" ma:displayName="Status" ma:default="Not started" ma:format="Dropdown" ma:internalName="Status" ma:readOnly="false">
      <xsd:simpleType>
        <xsd:restriction base="dms:Choice">
          <xsd:enumeration value="Not started"/>
          <xsd:enumeration value="In Progress"/>
          <xsd:enumeration value="Completed"/>
        </xsd:restriction>
      </xsd:simpleType>
    </xsd:element>
    <xsd:element name="Image" ma:index="3" nillable="true" ma:displayName="Image" ma:format="Image" ma:internalName="Image" ma:readOnly="fals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0" nillable="true" ma:displayName="MediaServiceOCR" ma:hidden="true" ma:internalName="MediaServiceOCR" ma:readOnly="true">
      <xsd:simpleType>
        <xsd:restriction base="dms:Note"/>
      </xsd:simpleType>
    </xsd:element>
    <xsd:element name="MediaServiceAutoTags" ma:index="11" nillable="true" ma:displayName="MediaServiceAutoTags" ma:hidden="true" ma:internalName="MediaServiceAutoTags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hidden="true" ma:internalName="MediaServiceKeyPoints" ma:readOnly="false">
      <xsd:simpleType>
        <xsd:restriction base="dms:Note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ImageTagsTaxHTField" ma:index="25" nillable="true" ma:taxonomy="true" ma:internalName="ImageTagsTaxHTField" ma:taxonomyFieldName="MediaServiceImageTags" ma:displayName="Image Tags" ma:readOnly="false" ma:fieldId="{5cf76f15-5ced-4ddc-b409-7134ff3c332f}" ma:taxonomyMulti="true" ma:sspId="e385fb40-52d4-4fae-9c5b-3e8ff8a5878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26" nillable="true" ma:displayName="Location" ma:hidden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6c05727-aa75-4e4a-9b5f-8a80a1165891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hidden="true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hidden="true" ma:internalName="SharedWithDetail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30e9df3-be65-4c73-a93b-d1236ebd677e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3f6bfcbc-3db3-4ae6-bd76-326f0798ad28}" ma:internalName="TaxCatchAll" ma:readOnly="false" ma:showField="CatchAllData" ma:web="16c05727-aa75-4e4a-9b5f-8a80a116589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Image xmlns="71af3243-3dd4-4a8d-8c0d-dd76da1f02a5">
      <Url xsi:nil="true"/>
      <Description xsi:nil="true"/>
    </Image>
    <Status xmlns="71af3243-3dd4-4a8d-8c0d-dd76da1f02a5">Not started</Status>
    <_ip_UnifiedCompliancePolicyProperties xmlns="http://schemas.microsoft.com/sharepoint/v3" xsi:nil="true"/>
    <ImageTagsTaxHTField xmlns="71af3243-3dd4-4a8d-8c0d-dd76da1f02a5">
      <Terms xmlns="http://schemas.microsoft.com/office/infopath/2007/PartnerControls"/>
    </ImageTagsTaxHTField>
    <TaxCatchAll xmlns="230e9df3-be65-4c73-a93b-d1236ebd677e" xsi:nil="true"/>
    <MediaServiceKeyPoints xmlns="71af3243-3dd4-4a8d-8c0d-dd76da1f02a5" xsi:nil="true"/>
  </documentManagement>
</p:properties>
</file>

<file path=customXml/itemProps1.xml><?xml version="1.0" encoding="utf-8"?>
<ds:datastoreItem xmlns:ds="http://schemas.openxmlformats.org/officeDocument/2006/customXml" ds:itemID="{BE89A24D-CD69-45A4-AC93-53B8115AA41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0BF0F94-36C0-430F-8DDE-AF914AC0C001}">
  <ds:schemaRefs>
    <ds:schemaRef ds:uri="16c05727-aa75-4e4a-9b5f-8a80a1165891"/>
    <ds:schemaRef ds:uri="230e9df3-be65-4c73-a93b-d1236ebd677e"/>
    <ds:schemaRef ds:uri="71af3243-3dd4-4a8d-8c0d-dd76da1f02a5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81D2FAC4-C1D8-4FBC-AFD8-786609711A54}">
  <ds:schemaRefs>
    <ds:schemaRef ds:uri="230e9df3-be65-4c73-a93b-d1236ebd677e"/>
    <ds:schemaRef ds:uri="71af3243-3dd4-4a8d-8c0d-dd76da1f02a5"/>
    <ds:schemaRef ds:uri="http://schemas.microsoft.com/office/2006/metadata/properties"/>
    <ds:schemaRef ds:uri="http://schemas.microsoft.com/office/infopath/2007/PartnerControls"/>
    <ds:schemaRef ds:uri="http://schemas.microsoft.com/sharepoint/v3"/>
  </ds:schemaRefs>
</ds:datastoreItem>
</file>

<file path=docMetadata/LabelInfo.xml><?xml version="1.0" encoding="utf-8"?>
<clbl:labelList xmlns:clbl="http://schemas.microsoft.com/office/2020/mipLabelMetadata">
  <clbl:label id="{f42aa342-8706-4288-bd11-ebb85995028c}" enabled="1" method="Standard" siteId="{72f988bf-86f1-41af-91ab-2d7cd011db47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Technische Verkaufspräsentation</Template>
  <TotalTime>0</TotalTime>
  <Words>935</Words>
  <Application>Microsoft Office PowerPoint</Application>
  <PresentationFormat>Widescreen</PresentationFormat>
  <Paragraphs>295</Paragraphs>
  <Slides>24</Slides>
  <Notes>8</Notes>
  <HiddenSlides>0</HiddenSlides>
  <MMClips>1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33" baseType="lpstr">
      <vt:lpstr>Arial</vt:lpstr>
      <vt:lpstr>Bierstadt</vt:lpstr>
      <vt:lpstr>Calibri</vt:lpstr>
      <vt:lpstr>Courier New</vt:lpstr>
      <vt:lpstr>Helvetica Neue</vt:lpstr>
      <vt:lpstr>Posterama</vt:lpstr>
      <vt:lpstr>Wingdings</vt:lpstr>
      <vt:lpstr>Office-Design</vt:lpstr>
      <vt:lpstr>think-cell Slide</vt:lpstr>
      <vt:lpstr>disQover</vt:lpstr>
      <vt:lpstr>PowerPoint Presentation</vt:lpstr>
      <vt:lpstr>PowerPoint Presentation</vt:lpstr>
      <vt:lpstr>VC Investing feels too much like gambling and too little like informed Deciding</vt:lpstr>
      <vt:lpstr>PowerPoint Presentation</vt:lpstr>
      <vt:lpstr>PowerPoint Presentation</vt:lpstr>
      <vt:lpstr>PowerPoint Presentation</vt:lpstr>
      <vt:lpstr>Lack of data and ai driven Evaluation tools </vt:lpstr>
      <vt:lpstr>The market is huge and allows to scale </vt:lpstr>
      <vt:lpstr>PowerPoint Presentation</vt:lpstr>
      <vt:lpstr>We can scale horizontally and vertically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Faller, Florian</dc:creator>
  <cp:lastModifiedBy>Florian Faller</cp:lastModifiedBy>
  <cp:revision>1</cp:revision>
  <dcterms:created xsi:type="dcterms:W3CDTF">2025-04-22T14:39:59Z</dcterms:created>
  <dcterms:modified xsi:type="dcterms:W3CDTF">2025-04-24T09:49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9F111ED35F8CC479449609E8A0923A6</vt:lpwstr>
  </property>
  <property fmtid="{D5CDD505-2E9C-101B-9397-08002B2CF9AE}" pid="3" name="MSIP_Label_ad261ccb-6f89-4428-880e-b9a47d74b2ca_Enabled">
    <vt:lpwstr>true</vt:lpwstr>
  </property>
  <property fmtid="{D5CDD505-2E9C-101B-9397-08002B2CF9AE}" pid="4" name="MSIP_Label_ad261ccb-6f89-4428-880e-b9a47d74b2ca_SetDate">
    <vt:lpwstr>2025-04-22T16:15:33Z</vt:lpwstr>
  </property>
  <property fmtid="{D5CDD505-2E9C-101B-9397-08002B2CF9AE}" pid="5" name="MSIP_Label_ad261ccb-6f89-4428-880e-b9a47d74b2ca_Method">
    <vt:lpwstr>Standard</vt:lpwstr>
  </property>
  <property fmtid="{D5CDD505-2E9C-101B-9397-08002B2CF9AE}" pid="6" name="MSIP_Label_ad261ccb-6f89-4428-880e-b9a47d74b2ca_Name">
    <vt:lpwstr>ad261ccb-6f89-4428-880e-b9a47d74b2ca</vt:lpwstr>
  </property>
  <property fmtid="{D5CDD505-2E9C-101B-9397-08002B2CF9AE}" pid="7" name="MSIP_Label_ad261ccb-6f89-4428-880e-b9a47d74b2ca_SiteId">
    <vt:lpwstr>fd738606-95d6-4efd-906c-3373a88a6a6a</vt:lpwstr>
  </property>
  <property fmtid="{D5CDD505-2E9C-101B-9397-08002B2CF9AE}" pid="8" name="MSIP_Label_ad261ccb-6f89-4428-880e-b9a47d74b2ca_ActionId">
    <vt:lpwstr>29cab584-234f-41fb-b6b0-f7e33c84ec31</vt:lpwstr>
  </property>
  <property fmtid="{D5CDD505-2E9C-101B-9397-08002B2CF9AE}" pid="9" name="MSIP_Label_ad261ccb-6f89-4428-880e-b9a47d74b2ca_ContentBits">
    <vt:lpwstr>0</vt:lpwstr>
  </property>
  <property fmtid="{D5CDD505-2E9C-101B-9397-08002B2CF9AE}" pid="10" name="MSIP_Label_ad261ccb-6f89-4428-880e-b9a47d74b2ca_Tag">
    <vt:lpwstr>10, 3, 0, 1</vt:lpwstr>
  </property>
</Properties>
</file>